
<file path=[Content_Types].xml><?xml version="1.0" encoding="utf-8"?>
<Types xmlns="http://schemas.openxmlformats.org/package/2006/content-types">
  <Default Extension="jpeg" ContentType="image/jpeg"/>
  <Default Extension="vml" ContentType="application/vnd.openxmlformats-officedocument.vmlDrawing"/>
  <Default Extension="bin" ContentType="application/vnd.openxmlformats-officedocument.oleObject"/>
  <Default Extension="png" ContentType="image/png"/>
  <Default Extension="wmf" ContentType="image/x-wmf"/>
  <Default Extension="emf" ContentType="image/x-emf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.xml" ContentType="application/vnd.openxmlformats-officedocument.presentationml.tags+xml"/>
  <Override PartName="/ppt/tags/tag70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Override1.xml" ContentType="application/vnd.openxmlformats-officedocument.themeOverride+xml"/>
  <Override PartName="/ppt/theme/themeOverride10.xml" ContentType="application/vnd.openxmlformats-officedocument.themeOverride+xml"/>
  <Override PartName="/ppt/theme/themeOverride11.xml" ContentType="application/vnd.openxmlformats-officedocument.themeOverride+xml"/>
  <Override PartName="/ppt/theme/themeOverride12.xml" ContentType="application/vnd.openxmlformats-officedocument.themeOverride+xml"/>
  <Override PartName="/ppt/theme/themeOverride13.xml" ContentType="application/vnd.openxmlformats-officedocument.themeOverride+xml"/>
  <Override PartName="/ppt/theme/themeOverride2.xml" ContentType="application/vnd.openxmlformats-officedocument.themeOverride+xml"/>
  <Override PartName="/ppt/theme/themeOverride3.xml" ContentType="application/vnd.openxmlformats-officedocument.themeOverride+xml"/>
  <Override PartName="/ppt/theme/themeOverride4.xml" ContentType="application/vnd.openxmlformats-officedocument.themeOverride+xml"/>
  <Override PartName="/ppt/theme/themeOverride5.xml" ContentType="application/vnd.openxmlformats-officedocument.themeOverride+xml"/>
  <Override PartName="/ppt/theme/themeOverride6.xml" ContentType="application/vnd.openxmlformats-officedocument.themeOverride+xml"/>
  <Override PartName="/ppt/theme/themeOverride7.xml" ContentType="application/vnd.openxmlformats-officedocument.themeOverride+xml"/>
  <Override PartName="/ppt/theme/themeOverride8.xml" ContentType="application/vnd.openxmlformats-officedocument.themeOverride+xml"/>
  <Override PartName="/ppt/theme/themeOverride9.xml" ContentType="application/vnd.openxmlformats-officedocument.themeOverrid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4" Type="http://schemas.openxmlformats.org/package/2006/relationships/metadata/thumbnail" Target="docProps/thumbnail.jpeg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5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>
  <p:sldMasterIdLst>
    <p:sldMasterId id="2147483648" r:id="rId1"/>
  </p:sldMasterIdLst>
  <p:notesMasterIdLst>
    <p:notesMasterId r:id="rId30"/>
  </p:notesMasterIdLst>
  <p:sldIdLst>
    <p:sldId id="256" r:id="rId3"/>
    <p:sldId id="258" r:id="rId4"/>
    <p:sldId id="295" r:id="rId5"/>
    <p:sldId id="296" r:id="rId6"/>
    <p:sldId id="297" r:id="rId7"/>
    <p:sldId id="277" r:id="rId8"/>
    <p:sldId id="310" r:id="rId9"/>
    <p:sldId id="270" r:id="rId10"/>
    <p:sldId id="308" r:id="rId11"/>
    <p:sldId id="302" r:id="rId12"/>
    <p:sldId id="303" r:id="rId13"/>
    <p:sldId id="276" r:id="rId14"/>
    <p:sldId id="311" r:id="rId15"/>
    <p:sldId id="312" r:id="rId16"/>
    <p:sldId id="313" r:id="rId17"/>
    <p:sldId id="304" r:id="rId18"/>
    <p:sldId id="279" r:id="rId19"/>
    <p:sldId id="314" r:id="rId20"/>
    <p:sldId id="315" r:id="rId21"/>
    <p:sldId id="317" r:id="rId22"/>
    <p:sldId id="319" r:id="rId23"/>
    <p:sldId id="322" r:id="rId24"/>
    <p:sldId id="329" r:id="rId25"/>
    <p:sldId id="330" r:id="rId26"/>
    <p:sldId id="320" r:id="rId27"/>
    <p:sldId id="321" r:id="rId28"/>
    <p:sldId id="261" r:id="rId29"/>
  </p:sldIdLst>
  <p:sldSz cx="12192000" cy="6858000"/>
  <p:notesSz cx="6858000" cy="9144000"/>
  <p:custDataLst>
    <p:tags r:id="rId34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53A4F"/>
    <a:srgbClr val="92D050"/>
    <a:srgbClr val="E69C08"/>
    <a:srgbClr val="FBAF3F"/>
    <a:srgbClr val="F89708"/>
    <a:srgbClr val="A20000"/>
    <a:srgbClr val="A40000"/>
    <a:srgbClr val="9E0000"/>
    <a:srgbClr val="C7450B"/>
    <a:srgbClr val="E24E0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3914" autoAdjust="0"/>
    <p:restoredTop sz="96182" autoAdjust="0"/>
  </p:normalViewPr>
  <p:slideViewPr>
    <p:cSldViewPr snapToGrid="0">
      <p:cViewPr varScale="1">
        <p:scale>
          <a:sx n="109" d="100"/>
          <a:sy n="109" d="100"/>
        </p:scale>
        <p:origin x="654" y="102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7.xml"/><Relationship Id="rId8" Type="http://schemas.openxmlformats.org/officeDocument/2006/relationships/slide" Target="slides/slide6.xml"/><Relationship Id="rId7" Type="http://schemas.openxmlformats.org/officeDocument/2006/relationships/slide" Target="slides/slide5.xml"/><Relationship Id="rId6" Type="http://schemas.openxmlformats.org/officeDocument/2006/relationships/slide" Target="slides/slide4.xml"/><Relationship Id="rId5" Type="http://schemas.openxmlformats.org/officeDocument/2006/relationships/slide" Target="slides/slide3.xml"/><Relationship Id="rId4" Type="http://schemas.openxmlformats.org/officeDocument/2006/relationships/slide" Target="slides/slide2.xml"/><Relationship Id="rId34" Type="http://schemas.openxmlformats.org/officeDocument/2006/relationships/tags" Target="tags/tag70.xml"/><Relationship Id="rId33" Type="http://schemas.openxmlformats.org/officeDocument/2006/relationships/tableStyles" Target="tableStyles.xml"/><Relationship Id="rId32" Type="http://schemas.openxmlformats.org/officeDocument/2006/relationships/viewProps" Target="viewProps.xml"/><Relationship Id="rId31" Type="http://schemas.openxmlformats.org/officeDocument/2006/relationships/presProps" Target="presProps.xml"/><Relationship Id="rId30" Type="http://schemas.openxmlformats.org/officeDocument/2006/relationships/notesMaster" Target="notesMasters/notesMaster1.xml"/><Relationship Id="rId3" Type="http://schemas.openxmlformats.org/officeDocument/2006/relationships/slide" Target="slides/slide1.xml"/><Relationship Id="rId29" Type="http://schemas.openxmlformats.org/officeDocument/2006/relationships/slide" Target="slides/slide27.xml"/><Relationship Id="rId28" Type="http://schemas.openxmlformats.org/officeDocument/2006/relationships/slide" Target="slides/slide26.xml"/><Relationship Id="rId27" Type="http://schemas.openxmlformats.org/officeDocument/2006/relationships/slide" Target="slides/slide25.xml"/><Relationship Id="rId26" Type="http://schemas.openxmlformats.org/officeDocument/2006/relationships/slide" Target="slides/slide24.xml"/><Relationship Id="rId25" Type="http://schemas.openxmlformats.org/officeDocument/2006/relationships/slide" Target="slides/slide23.xml"/><Relationship Id="rId24" Type="http://schemas.openxmlformats.org/officeDocument/2006/relationships/slide" Target="slides/slide22.xml"/><Relationship Id="rId23" Type="http://schemas.openxmlformats.org/officeDocument/2006/relationships/slide" Target="slides/slide21.xml"/><Relationship Id="rId22" Type="http://schemas.openxmlformats.org/officeDocument/2006/relationships/slide" Target="slides/slide20.xml"/><Relationship Id="rId21" Type="http://schemas.openxmlformats.org/officeDocument/2006/relationships/slide" Target="slides/slide19.xml"/><Relationship Id="rId20" Type="http://schemas.openxmlformats.org/officeDocument/2006/relationships/slide" Target="slides/slide18.xml"/><Relationship Id="rId2" Type="http://schemas.openxmlformats.org/officeDocument/2006/relationships/theme" Target="theme/theme1.xml"/><Relationship Id="rId19" Type="http://schemas.openxmlformats.org/officeDocument/2006/relationships/slide" Target="slides/slide17.xml"/><Relationship Id="rId18" Type="http://schemas.openxmlformats.org/officeDocument/2006/relationships/slide" Target="slides/slide16.xml"/><Relationship Id="rId17" Type="http://schemas.openxmlformats.org/officeDocument/2006/relationships/slide" Target="slides/slide15.xml"/><Relationship Id="rId16" Type="http://schemas.openxmlformats.org/officeDocument/2006/relationships/slide" Target="slides/slide14.xml"/><Relationship Id="rId15" Type="http://schemas.openxmlformats.org/officeDocument/2006/relationships/slide" Target="slides/slide13.xml"/><Relationship Id="rId14" Type="http://schemas.openxmlformats.org/officeDocument/2006/relationships/slide" Target="slides/slide12.xml"/><Relationship Id="rId13" Type="http://schemas.openxmlformats.org/officeDocument/2006/relationships/slide" Target="slides/slide11.xml"/><Relationship Id="rId12" Type="http://schemas.openxmlformats.org/officeDocument/2006/relationships/slide" Target="slides/slide10.xml"/><Relationship Id="rId11" Type="http://schemas.openxmlformats.org/officeDocument/2006/relationships/slide" Target="slides/slide9.xml"/><Relationship Id="rId10" Type="http://schemas.openxmlformats.org/officeDocument/2006/relationships/slide" Target="slides/slide8.xml"/><Relationship Id="rId1" Type="http://schemas.openxmlformats.org/officeDocument/2006/relationships/slideMaster" Target="slideMasters/slide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3.wmf"/></Relationships>
</file>

<file path=ppt/drawings/_rels/vmlDrawing11.vml.rels><?xml version="1.0" encoding="UTF-8" standalone="yes"?>
<Relationships xmlns="http://schemas.openxmlformats.org/package/2006/relationships"><Relationship Id="rId3" Type="http://schemas.openxmlformats.org/officeDocument/2006/relationships/image" Target="../media/image59.wmf"/><Relationship Id="rId2" Type="http://schemas.openxmlformats.org/officeDocument/2006/relationships/image" Target="../media/image57.wmf"/><Relationship Id="rId1" Type="http://schemas.openxmlformats.org/officeDocument/2006/relationships/image" Target="../media/image55.wmf"/></Relationships>
</file>

<file path=ppt/drawings/_rels/vmlDrawing12.vml.rels><?xml version="1.0" encoding="UTF-8" standalone="yes"?>
<Relationships xmlns="http://schemas.openxmlformats.org/package/2006/relationships"><Relationship Id="rId9" Type="http://schemas.openxmlformats.org/officeDocument/2006/relationships/image" Target="../media/image69.wmf"/><Relationship Id="rId8" Type="http://schemas.openxmlformats.org/officeDocument/2006/relationships/image" Target="../media/image68.wmf"/><Relationship Id="rId7" Type="http://schemas.openxmlformats.org/officeDocument/2006/relationships/image" Target="../media/image67.wmf"/><Relationship Id="rId6" Type="http://schemas.openxmlformats.org/officeDocument/2006/relationships/image" Target="../media/image66.wmf"/><Relationship Id="rId5" Type="http://schemas.openxmlformats.org/officeDocument/2006/relationships/image" Target="../media/image65.wmf"/><Relationship Id="rId4" Type="http://schemas.openxmlformats.org/officeDocument/2006/relationships/image" Target="../media/image64.wmf"/><Relationship Id="rId3" Type="http://schemas.openxmlformats.org/officeDocument/2006/relationships/image" Target="../media/image62.wmf"/><Relationship Id="rId2" Type="http://schemas.openxmlformats.org/officeDocument/2006/relationships/image" Target="../media/image61.wmf"/><Relationship Id="rId1" Type="http://schemas.openxmlformats.org/officeDocument/2006/relationships/image" Target="../media/image60.wmf"/></Relationships>
</file>

<file path=ppt/drawings/_rels/vmlDrawing13.vml.rels><?xml version="1.0" encoding="UTF-8" standalone="yes"?>
<Relationships xmlns="http://schemas.openxmlformats.org/package/2006/relationships"><Relationship Id="rId4" Type="http://schemas.openxmlformats.org/officeDocument/2006/relationships/image" Target="../media/image73.wmf"/><Relationship Id="rId3" Type="http://schemas.openxmlformats.org/officeDocument/2006/relationships/image" Target="../media/image72.wmf"/><Relationship Id="rId2" Type="http://schemas.openxmlformats.org/officeDocument/2006/relationships/image" Target="../media/image71.wmf"/><Relationship Id="rId1" Type="http://schemas.openxmlformats.org/officeDocument/2006/relationships/image" Target="../media/image70.w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2" Type="http://schemas.openxmlformats.org/officeDocument/2006/relationships/image" Target="../media/image7.wmf"/><Relationship Id="rId1" Type="http://schemas.openxmlformats.org/officeDocument/2006/relationships/image" Target="../media/image6.wmf"/></Relationships>
</file>

<file path=ppt/drawings/_rels/vmlDrawing3.vml.rels><?xml version="1.0" encoding="UTF-8" standalone="yes"?>
<Relationships xmlns="http://schemas.openxmlformats.org/package/2006/relationships"><Relationship Id="rId2" Type="http://schemas.openxmlformats.org/officeDocument/2006/relationships/image" Target="../media/image18.wmf"/><Relationship Id="rId1" Type="http://schemas.openxmlformats.org/officeDocument/2006/relationships/image" Target="../media/image17.wmf"/></Relationships>
</file>

<file path=ppt/drawings/_rels/vmlDrawing4.vml.rels><?xml version="1.0" encoding="UTF-8" standalone="yes"?>
<Relationships xmlns="http://schemas.openxmlformats.org/package/2006/relationships"><Relationship Id="rId3" Type="http://schemas.openxmlformats.org/officeDocument/2006/relationships/image" Target="../media/image27.wmf"/><Relationship Id="rId2" Type="http://schemas.openxmlformats.org/officeDocument/2006/relationships/image" Target="../media/image25.wmf"/><Relationship Id="rId1" Type="http://schemas.openxmlformats.org/officeDocument/2006/relationships/image" Target="../media/image24.wmf"/></Relationships>
</file>

<file path=ppt/drawings/_rels/vmlDrawing5.vml.rels><?xml version="1.0" encoding="UTF-8" standalone="yes"?>
<Relationships xmlns="http://schemas.openxmlformats.org/package/2006/relationships"><Relationship Id="rId2" Type="http://schemas.openxmlformats.org/officeDocument/2006/relationships/image" Target="../media/image29.wmf"/><Relationship Id="rId1" Type="http://schemas.openxmlformats.org/officeDocument/2006/relationships/image" Target="../media/image28.wmf"/></Relationships>
</file>

<file path=ppt/drawings/_rels/vmlDrawing6.vml.rels><?xml version="1.0" encoding="UTF-8" standalone="yes"?>
<Relationships xmlns="http://schemas.openxmlformats.org/package/2006/relationships"><Relationship Id="rId7" Type="http://schemas.openxmlformats.org/officeDocument/2006/relationships/image" Target="../media/image37.wmf"/><Relationship Id="rId6" Type="http://schemas.openxmlformats.org/officeDocument/2006/relationships/image" Target="../media/image36.wmf"/><Relationship Id="rId5" Type="http://schemas.openxmlformats.org/officeDocument/2006/relationships/image" Target="../media/image35.wmf"/><Relationship Id="rId4" Type="http://schemas.openxmlformats.org/officeDocument/2006/relationships/image" Target="../media/image34.wmf"/><Relationship Id="rId3" Type="http://schemas.openxmlformats.org/officeDocument/2006/relationships/image" Target="../media/image33.wmf"/><Relationship Id="rId2" Type="http://schemas.openxmlformats.org/officeDocument/2006/relationships/image" Target="../media/image32.wmf"/><Relationship Id="rId1" Type="http://schemas.openxmlformats.org/officeDocument/2006/relationships/image" Target="../media/image31.w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6.wmf"/></Relationships>
</file>

<file path=ppt/drawings/_rels/vmlDrawing8.vml.rels><?xml version="1.0" encoding="UTF-8" standalone="yes"?>
<Relationships xmlns="http://schemas.openxmlformats.org/package/2006/relationships"><Relationship Id="rId3" Type="http://schemas.openxmlformats.org/officeDocument/2006/relationships/image" Target="../media/image49.wmf"/><Relationship Id="rId2" Type="http://schemas.openxmlformats.org/officeDocument/2006/relationships/image" Target="../media/image48.wmf"/><Relationship Id="rId1" Type="http://schemas.openxmlformats.org/officeDocument/2006/relationships/image" Target="../media/image47.w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1.w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 showMasterSp="0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/>
          <p:cNvSpPr>
            <a:spLocks noChangeAspect="1"/>
          </p:cNvSpPr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dk1"/>
                </a:solidFill>
                <a:prstDash val="solid"/>
                <a:miter lim="800000"/>
                <a:headEnd/>
                <a:tailEnd/>
              </a14:hiddenLine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zh-CN" altLang="en-US" sz="1350"/>
          </a:p>
        </p:txBody>
      </p:sp>
      <p:sp>
        <p:nvSpPr>
          <p:cNvPr id="152" name="矩形 151"/>
          <p:cNvSpPr>
            <a:spLocks noChangeAspect="1"/>
          </p:cNvSpPr>
          <p:nvPr userDrawn="1"/>
        </p:nvSpPr>
        <p:spPr>
          <a:xfrm>
            <a:off x="-1" y="0"/>
            <a:ext cx="12192000" cy="6858000"/>
          </a:xfrm>
          <a:prstGeom prst="rect">
            <a:avLst/>
          </a:prstGeom>
          <a:solidFill>
            <a:schemeClr val="bg1">
              <a:alpha val="7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zh-CN" altLang="en-US" sz="1350"/>
          </a:p>
        </p:txBody>
      </p:sp>
      <p:sp>
        <p:nvSpPr>
          <p:cNvPr id="5" name="直角三角形 4"/>
          <p:cNvSpPr/>
          <p:nvPr userDrawn="1"/>
        </p:nvSpPr>
        <p:spPr>
          <a:xfrm flipV="1">
            <a:off x="-1" y="0"/>
            <a:ext cx="1737007" cy="1898651"/>
          </a:xfrm>
          <a:prstGeom prst="rt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350"/>
          </a:p>
        </p:txBody>
      </p:sp>
      <p:sp>
        <p:nvSpPr>
          <p:cNvPr id="4" name="直角三角形 3"/>
          <p:cNvSpPr/>
          <p:nvPr userDrawn="1"/>
        </p:nvSpPr>
        <p:spPr>
          <a:xfrm>
            <a:off x="1" y="571500"/>
            <a:ext cx="3526972" cy="6286500"/>
          </a:xfrm>
          <a:prstGeom prst="rt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350"/>
          </a:p>
        </p:txBody>
      </p:sp>
      <p:sp>
        <p:nvSpPr>
          <p:cNvPr id="158" name="任意多边形: 形状 157"/>
          <p:cNvSpPr/>
          <p:nvPr userDrawn="1"/>
        </p:nvSpPr>
        <p:spPr>
          <a:xfrm flipH="1">
            <a:off x="8455099" y="3162300"/>
            <a:ext cx="3736903" cy="3695700"/>
          </a:xfrm>
          <a:custGeom>
            <a:avLst/>
            <a:gdLst>
              <a:gd name="connsiteX0" fmla="*/ 0 w 3736900"/>
              <a:gd name="connsiteY0" fmla="*/ 0 h 3861022"/>
              <a:gd name="connsiteX1" fmla="*/ 0 w 3736900"/>
              <a:gd name="connsiteY1" fmla="*/ 3861022 h 3861022"/>
              <a:gd name="connsiteX2" fmla="*/ 3736900 w 3736900"/>
              <a:gd name="connsiteY2" fmla="*/ 3861022 h 38610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736900" h="3861022">
                <a:moveTo>
                  <a:pt x="0" y="0"/>
                </a:moveTo>
                <a:lnTo>
                  <a:pt x="0" y="3861022"/>
                </a:lnTo>
                <a:lnTo>
                  <a:pt x="3736900" y="3861022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350"/>
          </a:p>
        </p:txBody>
      </p:sp>
      <p:sp>
        <p:nvSpPr>
          <p:cNvPr id="153" name="直角三角形 152"/>
          <p:cNvSpPr/>
          <p:nvPr userDrawn="1"/>
        </p:nvSpPr>
        <p:spPr>
          <a:xfrm flipH="1">
            <a:off x="8665027" y="4019550"/>
            <a:ext cx="3526973" cy="2838450"/>
          </a:xfrm>
          <a:prstGeom prst="rt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350"/>
          </a:p>
        </p:txBody>
      </p:sp>
      <p:cxnSp>
        <p:nvCxnSpPr>
          <p:cNvPr id="9794" name="直接连接符 9793"/>
          <p:cNvCxnSpPr>
            <a:stCxn id="4" idx="0"/>
          </p:cNvCxnSpPr>
          <p:nvPr userDrawn="1"/>
        </p:nvCxnSpPr>
        <p:spPr>
          <a:xfrm>
            <a:off x="0" y="571500"/>
            <a:ext cx="3736903" cy="628650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801" name="副标题 2"/>
          <p:cNvSpPr>
            <a:spLocks noGrp="1"/>
          </p:cNvSpPr>
          <p:nvPr userDrawn="1">
            <p:ph type="subTitle" idx="1"/>
          </p:nvPr>
        </p:nvSpPr>
        <p:spPr>
          <a:xfrm>
            <a:off x="3496879" y="3060935"/>
            <a:ext cx="5618092" cy="558799"/>
          </a:xfrm>
        </p:spPr>
        <p:txBody>
          <a:bodyPr anchor="ctr">
            <a:normAutofit/>
          </a:bodyPr>
          <a:lstStyle>
            <a:lvl1pPr marL="0" indent="0" algn="ctr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  <a:endParaRPr lang="en-US" dirty="0"/>
          </a:p>
        </p:txBody>
      </p:sp>
      <p:sp>
        <p:nvSpPr>
          <p:cNvPr id="9802" name="标题 1"/>
          <p:cNvSpPr>
            <a:spLocks noGrp="1"/>
          </p:cNvSpPr>
          <p:nvPr userDrawn="1">
            <p:ph type="ctrTitle"/>
          </p:nvPr>
        </p:nvSpPr>
        <p:spPr>
          <a:xfrm>
            <a:off x="3496879" y="1773874"/>
            <a:ext cx="5618092" cy="1117600"/>
          </a:xfrm>
        </p:spPr>
        <p:txBody>
          <a:bodyPr anchor="ctr">
            <a:normAutofit/>
          </a:bodyPr>
          <a:lstStyle>
            <a:lvl1pPr algn="ctr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12" name="文本占位符 1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3496879" y="4476984"/>
            <a:ext cx="5618092" cy="296271"/>
          </a:xfrm>
        </p:spPr>
        <p:txBody>
          <a:bodyPr vert="horz" anchor="ctr">
            <a:noAutofit/>
          </a:bodyPr>
          <a:lstStyle>
            <a:lvl1pPr marL="0" indent="0" algn="ctr">
              <a:buNone/>
              <a:defRPr sz="1500" b="0">
                <a:solidFill>
                  <a:schemeClr val="tx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  <a:endParaRPr lang="en-US" altLang="zh-CN" dirty="0"/>
          </a:p>
        </p:txBody>
      </p:sp>
      <p:sp>
        <p:nvSpPr>
          <p:cNvPr id="13" name="文本占位符 13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3496879" y="4773255"/>
            <a:ext cx="5618092" cy="296271"/>
          </a:xfrm>
        </p:spPr>
        <p:txBody>
          <a:bodyPr vert="horz" anchor="ctr">
            <a:noAutofit/>
          </a:bodyPr>
          <a:lstStyle>
            <a:lvl1pPr marL="0" indent="0" algn="ctr">
              <a:buNone/>
              <a:defRPr sz="1500" b="0">
                <a:solidFill>
                  <a:schemeClr val="tx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 showMasterSp="0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标题 1"/>
          <p:cNvSpPr>
            <a:spLocks noGrp="1"/>
          </p:cNvSpPr>
          <p:nvPr userDrawn="1">
            <p:ph type="title"/>
          </p:nvPr>
        </p:nvSpPr>
        <p:spPr>
          <a:xfrm>
            <a:off x="1863767" y="2926729"/>
            <a:ext cx="5419185" cy="895350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"/>
          <p:cNvSpPr>
            <a:spLocks noGrp="1"/>
          </p:cNvSpPr>
          <p:nvPr userDrawn="1">
            <p:ph type="body" idx="1"/>
          </p:nvPr>
        </p:nvSpPr>
        <p:spPr>
          <a:xfrm>
            <a:off x="1864883" y="3822081"/>
            <a:ext cx="5419185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00000"/>
              </a:lnSpc>
              <a:buNone/>
              <a:defRPr sz="11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  <a:endParaRPr lang="en-US" dirty="0"/>
          </a:p>
        </p:txBody>
      </p:sp>
      <p:grpSp>
        <p:nvGrpSpPr>
          <p:cNvPr id="5" name="组合 4"/>
          <p:cNvGrpSpPr/>
          <p:nvPr userDrawn="1"/>
        </p:nvGrpSpPr>
        <p:grpSpPr>
          <a:xfrm>
            <a:off x="6762751" y="2926731"/>
            <a:ext cx="3975100" cy="3931271"/>
            <a:chOff x="6096000" y="3162300"/>
            <a:chExt cx="3736902" cy="3695700"/>
          </a:xfrm>
        </p:grpSpPr>
        <p:sp>
          <p:nvSpPr>
            <p:cNvPr id="10" name="任意多边形: 形状 9"/>
            <p:cNvSpPr/>
            <p:nvPr userDrawn="1"/>
          </p:nvSpPr>
          <p:spPr>
            <a:xfrm flipH="1">
              <a:off x="6096000" y="3162300"/>
              <a:ext cx="3736902" cy="3695700"/>
            </a:xfrm>
            <a:custGeom>
              <a:avLst/>
              <a:gdLst>
                <a:gd name="connsiteX0" fmla="*/ 0 w 3736900"/>
                <a:gd name="connsiteY0" fmla="*/ 0 h 3861022"/>
                <a:gd name="connsiteX1" fmla="*/ 0 w 3736900"/>
                <a:gd name="connsiteY1" fmla="*/ 3861022 h 3861022"/>
                <a:gd name="connsiteX2" fmla="*/ 3736900 w 3736900"/>
                <a:gd name="connsiteY2" fmla="*/ 3861022 h 3861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36900" h="3861022">
                  <a:moveTo>
                    <a:pt x="0" y="0"/>
                  </a:moveTo>
                  <a:lnTo>
                    <a:pt x="0" y="3861022"/>
                  </a:lnTo>
                  <a:lnTo>
                    <a:pt x="3736900" y="3861022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350"/>
            </a:p>
          </p:txBody>
        </p:sp>
        <p:sp>
          <p:nvSpPr>
            <p:cNvPr id="11" name="直角三角形 10"/>
            <p:cNvSpPr/>
            <p:nvPr userDrawn="1"/>
          </p:nvSpPr>
          <p:spPr>
            <a:xfrm flipH="1">
              <a:off x="6305927" y="4019550"/>
              <a:ext cx="3526973" cy="2838450"/>
            </a:xfrm>
            <a:prstGeom prst="rtTriangl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350"/>
            </a:p>
          </p:txBody>
        </p:sp>
      </p:grpSp>
      <p:sp>
        <p:nvSpPr>
          <p:cNvPr id="17" name="任意多边形: 形状 16"/>
          <p:cNvSpPr/>
          <p:nvPr userDrawn="1"/>
        </p:nvSpPr>
        <p:spPr>
          <a:xfrm>
            <a:off x="6516915" y="0"/>
            <a:ext cx="5675087" cy="6858000"/>
          </a:xfrm>
          <a:custGeom>
            <a:avLst/>
            <a:gdLst>
              <a:gd name="connsiteX0" fmla="*/ 0 w 5675086"/>
              <a:gd name="connsiteY0" fmla="*/ 0 h 6858000"/>
              <a:gd name="connsiteX1" fmla="*/ 5675086 w 5675086"/>
              <a:gd name="connsiteY1" fmla="*/ 0 h 6858000"/>
              <a:gd name="connsiteX2" fmla="*/ 5675086 w 5675086"/>
              <a:gd name="connsiteY2" fmla="*/ 6858000 h 6858000"/>
              <a:gd name="connsiteX3" fmla="*/ 4093874 w 5675086"/>
              <a:gd name="connsiteY3" fmla="*/ 6858000 h 6858000"/>
              <a:gd name="connsiteX4" fmla="*/ 0 w 5675086"/>
              <a:gd name="connsiteY4" fmla="*/ 2008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675086" h="6858000">
                <a:moveTo>
                  <a:pt x="0" y="0"/>
                </a:moveTo>
                <a:lnTo>
                  <a:pt x="5675086" y="0"/>
                </a:lnTo>
                <a:lnTo>
                  <a:pt x="5675086" y="6858000"/>
                </a:lnTo>
                <a:lnTo>
                  <a:pt x="4093874" y="6858000"/>
                </a:lnTo>
                <a:lnTo>
                  <a:pt x="0" y="2008"/>
                </a:lnTo>
                <a:close/>
              </a:path>
            </a:pathLst>
          </a:custGeom>
          <a:blipFill>
            <a:blip r:embed="rId2"/>
            <a:stretch>
              <a:fillRect l="-38239" r="-38068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35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dirty="0"/>
              <a:t>www.islide.cc</a:t>
            </a:r>
            <a:endParaRPr lang="zh-CN" altLang="en-US" dirty="0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sp>
        <p:nvSpPr>
          <p:cNvPr id="6" name="标题 5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/>
          <p:cNvSpPr>
            <a:spLocks noGrp="1"/>
          </p:cNvSpPr>
          <p:nvPr>
            <p:ph sz="quarter" idx="13"/>
          </p:nvPr>
        </p:nvSpPr>
        <p:spPr>
          <a:xfrm>
            <a:off x="669925" y="1130301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  <a:endParaRPr lang="en-US" altLang="zh-CN" dirty="0"/>
          </a:p>
          <a:p>
            <a:pPr lvl="1"/>
            <a:r>
              <a:rPr lang="en-US" altLang="zh-CN" dirty="0"/>
              <a:t>Second level</a:t>
            </a:r>
            <a:endParaRPr lang="en-US" altLang="zh-CN" dirty="0"/>
          </a:p>
          <a:p>
            <a:pPr lvl="2"/>
            <a:r>
              <a:rPr lang="en-US" altLang="zh-CN" dirty="0"/>
              <a:t>Third level</a:t>
            </a:r>
            <a:endParaRPr lang="en-US" altLang="zh-CN" dirty="0"/>
          </a:p>
          <a:p>
            <a:pPr lvl="3"/>
            <a:r>
              <a:rPr lang="en-US" altLang="zh-CN" dirty="0"/>
              <a:t>Fourth level</a:t>
            </a:r>
            <a:endParaRPr lang="en-US" altLang="zh-CN" dirty="0"/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</a:fld>
            <a:endParaRPr lang="zh-CN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dirty="0"/>
              <a:t>www.islide.cc</a:t>
            </a:r>
            <a:endParaRPr lang="zh-CN" alt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 showMasterSp="0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直角三角形 7"/>
          <p:cNvSpPr/>
          <p:nvPr userDrawn="1"/>
        </p:nvSpPr>
        <p:spPr>
          <a:xfrm flipH="1" flipV="1">
            <a:off x="10454995" y="0"/>
            <a:ext cx="1737007" cy="1898651"/>
          </a:xfrm>
          <a:prstGeom prst="rt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350"/>
          </a:p>
        </p:txBody>
      </p:sp>
      <p:sp>
        <p:nvSpPr>
          <p:cNvPr id="9" name="直角三角形 8"/>
          <p:cNvSpPr/>
          <p:nvPr userDrawn="1"/>
        </p:nvSpPr>
        <p:spPr>
          <a:xfrm flipH="1">
            <a:off x="8665027" y="571500"/>
            <a:ext cx="3526972" cy="6286500"/>
          </a:xfrm>
          <a:prstGeom prst="rtTriangle">
            <a:avLst/>
          </a:prstGeom>
          <a:solidFill>
            <a:srgbClr val="FFC000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350"/>
          </a:p>
        </p:txBody>
      </p:sp>
      <p:sp>
        <p:nvSpPr>
          <p:cNvPr id="10" name="任意多边形: 形状 9"/>
          <p:cNvSpPr/>
          <p:nvPr userDrawn="1"/>
        </p:nvSpPr>
        <p:spPr>
          <a:xfrm>
            <a:off x="-1" y="3162300"/>
            <a:ext cx="3736903" cy="3695700"/>
          </a:xfrm>
          <a:custGeom>
            <a:avLst/>
            <a:gdLst>
              <a:gd name="connsiteX0" fmla="*/ 0 w 3736900"/>
              <a:gd name="connsiteY0" fmla="*/ 0 h 3861022"/>
              <a:gd name="connsiteX1" fmla="*/ 0 w 3736900"/>
              <a:gd name="connsiteY1" fmla="*/ 3861022 h 3861022"/>
              <a:gd name="connsiteX2" fmla="*/ 3736900 w 3736900"/>
              <a:gd name="connsiteY2" fmla="*/ 3861022 h 38610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736900" h="3861022">
                <a:moveTo>
                  <a:pt x="0" y="0"/>
                </a:moveTo>
                <a:lnTo>
                  <a:pt x="0" y="3861022"/>
                </a:lnTo>
                <a:lnTo>
                  <a:pt x="3736900" y="3861022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350"/>
          </a:p>
        </p:txBody>
      </p:sp>
      <p:sp>
        <p:nvSpPr>
          <p:cNvPr id="11" name="直角三角形 10"/>
          <p:cNvSpPr/>
          <p:nvPr userDrawn="1"/>
        </p:nvSpPr>
        <p:spPr>
          <a:xfrm>
            <a:off x="0" y="4019550"/>
            <a:ext cx="3526973" cy="2838450"/>
          </a:xfrm>
          <a:prstGeom prst="rt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350"/>
          </a:p>
        </p:txBody>
      </p:sp>
      <p:cxnSp>
        <p:nvCxnSpPr>
          <p:cNvPr id="12" name="直接连接符 11"/>
          <p:cNvCxnSpPr>
            <a:stCxn id="9" idx="0"/>
          </p:cNvCxnSpPr>
          <p:nvPr userDrawn="1"/>
        </p:nvCxnSpPr>
        <p:spPr>
          <a:xfrm flipH="1">
            <a:off x="8455097" y="571500"/>
            <a:ext cx="3736903" cy="628650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3382963" y="1898653"/>
            <a:ext cx="5426076" cy="1621509"/>
          </a:xfrm>
        </p:spPr>
        <p:txBody>
          <a:bodyPr anchor="b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62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3382963" y="4204889"/>
            <a:ext cx="5426076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ctr">
              <a:buNone/>
              <a:defRPr lang="zh-CN" altLang="en-US" sz="1500" smtClean="0">
                <a:solidFill>
                  <a:schemeClr val="tx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600" marR="0" lvl="0" indent="-228600" fontAlgn="auto">
              <a:spcAft>
                <a:spcPts val="0"/>
              </a:spcAft>
              <a:buClrTx/>
              <a:buSzTx/>
            </a:pPr>
            <a:r>
              <a:rPr lang="en-US" altLang="zh-CN" dirty="0"/>
              <a:t>Data</a:t>
            </a:r>
            <a:endParaRPr lang="en-US" altLang="zh-CN" dirty="0"/>
          </a:p>
        </p:txBody>
      </p:sp>
      <p:sp>
        <p:nvSpPr>
          <p:cNvPr id="6" name="文本占位符 1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3382963" y="3908618"/>
            <a:ext cx="5426076" cy="296271"/>
          </a:xfrm>
        </p:spPr>
        <p:txBody>
          <a:bodyPr vert="horz" anchor="ctr">
            <a:noAutofit/>
          </a:bodyPr>
          <a:lstStyle>
            <a:lvl1pPr marL="0" indent="0" algn="ctr">
              <a:buNone/>
              <a:defRPr sz="1500" b="0">
                <a:solidFill>
                  <a:schemeClr val="tx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  <a:endParaRPr lang="en-US" altLang="zh-CN" dirty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7" Type="http://schemas.openxmlformats.org/officeDocument/2006/relationships/theme" Target="../theme/theme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5" y="3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5" y="1123952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  <a:endParaRPr lang="en-US" dirty="0"/>
          </a:p>
          <a:p>
            <a:pPr lvl="1"/>
            <a:r>
              <a:rPr lang="en-US" dirty="0"/>
              <a:t>Second level</a:t>
            </a:r>
            <a:endParaRPr lang="en-US" dirty="0"/>
          </a:p>
          <a:p>
            <a:pPr lvl="2"/>
            <a:r>
              <a:rPr lang="en-US" dirty="0"/>
              <a:t>Third level</a:t>
            </a:r>
            <a:endParaRPr lang="en-US" dirty="0"/>
          </a:p>
          <a:p>
            <a:pPr lvl="3"/>
            <a:r>
              <a:rPr lang="en-US" dirty="0"/>
              <a:t>Fourth level</a:t>
            </a:r>
            <a:endParaRPr lang="en-US" dirty="0"/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5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3"/>
          <p:cNvSpPr>
            <a:spLocks noGrp="1"/>
          </p:cNvSpPr>
          <p:nvPr>
            <p:ph type="dt" sz="half" idx="2"/>
          </p:nvPr>
        </p:nvSpPr>
        <p:spPr>
          <a:xfrm>
            <a:off x="5401732" y="6240465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489D9C7-5DC6-4263-87FF-7C99F6FB63C3}" type="datetime1">
              <a:rPr lang="zh-CN" altLang="en-US" smtClean="0"/>
            </a:fld>
            <a:endParaRPr lang="zh-CN" altLang="en-US"/>
          </a:p>
        </p:txBody>
      </p:sp>
      <p:sp>
        <p:nvSpPr>
          <p:cNvPr id="9" name="页脚占位符 4"/>
          <p:cNvSpPr>
            <a:spLocks noGrp="1"/>
          </p:cNvSpPr>
          <p:nvPr>
            <p:ph type="ftr" sz="quarter" idx="3"/>
          </p:nvPr>
        </p:nvSpPr>
        <p:spPr>
          <a:xfrm>
            <a:off x="669925" y="6240465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altLang="zh-CN" dirty="0"/>
              <a:t>www.islide.cc</a:t>
            </a:r>
            <a:endParaRPr lang="zh-CN" altLang="en-US" dirty="0"/>
          </a:p>
        </p:txBody>
      </p:sp>
      <p:sp>
        <p:nvSpPr>
          <p:cNvPr id="10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599" y="6240465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spcAft>
          <a:spcPts val="0"/>
        </a:spcAft>
        <a:buFont typeface="Arial" panose="020B0604020202020204" pitchFamily="34" charset="0"/>
        <a:buChar char="•"/>
        <a:defRPr sz="1800" b="1" i="0" u="none" kern="1200">
          <a:solidFill>
            <a:srgbClr val="000000"/>
          </a:solidFill>
          <a:latin typeface="宋体" panose="02010600030101010101" pitchFamily="2" charset="-122"/>
          <a:ea typeface="宋体" panose="02010600030101010101" pitchFamily="2" charset="-122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1.vml"/><Relationship Id="rId6" Type="http://schemas.openxmlformats.org/officeDocument/2006/relationships/slideLayout" Target="../slideLayouts/slideLayout1.xml"/><Relationship Id="rId5" Type="http://schemas.openxmlformats.org/officeDocument/2006/relationships/themeOverride" Target="../theme/themeOverride1.xml"/><Relationship Id="rId4" Type="http://schemas.openxmlformats.org/officeDocument/2006/relationships/tags" Target="../tags/tag2.xml"/><Relationship Id="rId3" Type="http://schemas.openxmlformats.org/officeDocument/2006/relationships/image" Target="../media/image3.emf"/><Relationship Id="rId2" Type="http://schemas.openxmlformats.org/officeDocument/2006/relationships/oleObject" Target="../embeddings/oleObject1.bin"/><Relationship Id="rId1" Type="http://schemas.openxmlformats.org/officeDocument/2006/relationships/tags" Target="../tags/tag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image" Target="../media/image16.png"/><Relationship Id="rId1" Type="http://schemas.openxmlformats.org/officeDocument/2006/relationships/tags" Target="../tags/tag16.xml"/></Relationships>
</file>

<file path=ppt/slides/_rels/slide11.xml.rels><?xml version="1.0" encoding="UTF-8" standalone="yes"?>
<Relationships xmlns="http://schemas.openxmlformats.org/package/2006/relationships"><Relationship Id="rId9" Type="http://schemas.openxmlformats.org/officeDocument/2006/relationships/tags" Target="../tags/tag25.xml"/><Relationship Id="rId8" Type="http://schemas.openxmlformats.org/officeDocument/2006/relationships/tags" Target="../tags/tag24.xml"/><Relationship Id="rId7" Type="http://schemas.openxmlformats.org/officeDocument/2006/relationships/tags" Target="../tags/tag23.xml"/><Relationship Id="rId6" Type="http://schemas.openxmlformats.org/officeDocument/2006/relationships/tags" Target="../tags/tag22.xml"/><Relationship Id="rId5" Type="http://schemas.openxmlformats.org/officeDocument/2006/relationships/tags" Target="../tags/tag21.xml"/><Relationship Id="rId4" Type="http://schemas.openxmlformats.org/officeDocument/2006/relationships/tags" Target="../tags/tag20.xml"/><Relationship Id="rId3" Type="http://schemas.openxmlformats.org/officeDocument/2006/relationships/tags" Target="../tags/tag19.xml"/><Relationship Id="rId20" Type="http://schemas.openxmlformats.org/officeDocument/2006/relationships/vmlDrawing" Target="../drawings/vmlDrawing3.vml"/><Relationship Id="rId2" Type="http://schemas.openxmlformats.org/officeDocument/2006/relationships/tags" Target="../tags/tag18.xml"/><Relationship Id="rId19" Type="http://schemas.openxmlformats.org/officeDocument/2006/relationships/slideLayout" Target="../slideLayouts/slideLayout5.xml"/><Relationship Id="rId18" Type="http://schemas.openxmlformats.org/officeDocument/2006/relationships/themeOverride" Target="../theme/themeOverride7.xml"/><Relationship Id="rId17" Type="http://schemas.openxmlformats.org/officeDocument/2006/relationships/image" Target="../media/image18.wmf"/><Relationship Id="rId16" Type="http://schemas.openxmlformats.org/officeDocument/2006/relationships/oleObject" Target="../embeddings/oleObject5.bin"/><Relationship Id="rId15" Type="http://schemas.openxmlformats.org/officeDocument/2006/relationships/image" Target="../media/image17.wmf"/><Relationship Id="rId14" Type="http://schemas.openxmlformats.org/officeDocument/2006/relationships/oleObject" Target="../embeddings/oleObject4.bin"/><Relationship Id="rId13" Type="http://schemas.openxmlformats.org/officeDocument/2006/relationships/tags" Target="../tags/tag29.xml"/><Relationship Id="rId12" Type="http://schemas.openxmlformats.org/officeDocument/2006/relationships/tags" Target="../tags/tag28.xml"/><Relationship Id="rId11" Type="http://schemas.openxmlformats.org/officeDocument/2006/relationships/tags" Target="../tags/tag27.xml"/><Relationship Id="rId10" Type="http://schemas.openxmlformats.org/officeDocument/2006/relationships/tags" Target="../tags/tag26.xml"/><Relationship Id="rId1" Type="http://schemas.openxmlformats.org/officeDocument/2006/relationships/tags" Target="../tags/tag1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image" Target="../media/image19.png"/><Relationship Id="rId1" Type="http://schemas.openxmlformats.org/officeDocument/2006/relationships/tags" Target="../tags/tag30.xml"/></Relationships>
</file>

<file path=ppt/slides/_rels/slide13.xml.rels><?xml version="1.0" encoding="UTF-8" standalone="yes"?>
<Relationships xmlns="http://schemas.openxmlformats.org/package/2006/relationships"><Relationship Id="rId7" Type="http://schemas.openxmlformats.org/officeDocument/2006/relationships/slideLayout" Target="../slideLayouts/slideLayout4.xml"/><Relationship Id="rId6" Type="http://schemas.openxmlformats.org/officeDocument/2006/relationships/image" Target="../media/image23.png"/><Relationship Id="rId5" Type="http://schemas.openxmlformats.org/officeDocument/2006/relationships/image" Target="../media/image22.png"/><Relationship Id="rId4" Type="http://schemas.openxmlformats.org/officeDocument/2006/relationships/image" Target="../media/image21.png"/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tags" Target="../tags/tag31.xml"/></Relationships>
</file>

<file path=ppt/slides/_rels/slide14.xml.rels><?xml version="1.0" encoding="UTF-8" standalone="yes"?>
<Relationships xmlns="http://schemas.openxmlformats.org/package/2006/relationships"><Relationship Id="rId9" Type="http://schemas.openxmlformats.org/officeDocument/2006/relationships/image" Target="../media/image27.wmf"/><Relationship Id="rId8" Type="http://schemas.openxmlformats.org/officeDocument/2006/relationships/oleObject" Target="../embeddings/oleObject8.bin"/><Relationship Id="rId7" Type="http://schemas.openxmlformats.org/officeDocument/2006/relationships/image" Target="../media/image26.png"/><Relationship Id="rId6" Type="http://schemas.openxmlformats.org/officeDocument/2006/relationships/image" Target="../media/image25.wmf"/><Relationship Id="rId5" Type="http://schemas.openxmlformats.org/officeDocument/2006/relationships/oleObject" Target="../embeddings/oleObject7.bin"/><Relationship Id="rId4" Type="http://schemas.openxmlformats.org/officeDocument/2006/relationships/image" Target="../media/image24.wmf"/><Relationship Id="rId3" Type="http://schemas.openxmlformats.org/officeDocument/2006/relationships/oleObject" Target="../embeddings/oleObject6.bin"/><Relationship Id="rId2" Type="http://schemas.openxmlformats.org/officeDocument/2006/relationships/image" Target="../media/image19.png"/><Relationship Id="rId11" Type="http://schemas.openxmlformats.org/officeDocument/2006/relationships/vmlDrawing" Target="../drawings/vmlDrawing4.vml"/><Relationship Id="rId10" Type="http://schemas.openxmlformats.org/officeDocument/2006/relationships/slideLayout" Target="../slideLayouts/slideLayout4.xml"/><Relationship Id="rId1" Type="http://schemas.openxmlformats.org/officeDocument/2006/relationships/tags" Target="../tags/tag32.xml"/></Relationships>
</file>

<file path=ppt/slides/_rels/slide15.xml.rels><?xml version="1.0" encoding="UTF-8" standalone="yes"?>
<Relationships xmlns="http://schemas.openxmlformats.org/package/2006/relationships"><Relationship Id="rId9" Type="http://schemas.openxmlformats.org/officeDocument/2006/relationships/vmlDrawing" Target="../drawings/vmlDrawing5.vml"/><Relationship Id="rId8" Type="http://schemas.openxmlformats.org/officeDocument/2006/relationships/slideLayout" Target="../slideLayouts/slideLayout4.xml"/><Relationship Id="rId7" Type="http://schemas.openxmlformats.org/officeDocument/2006/relationships/image" Target="../media/image30.png"/><Relationship Id="rId6" Type="http://schemas.openxmlformats.org/officeDocument/2006/relationships/image" Target="../media/image29.wmf"/><Relationship Id="rId5" Type="http://schemas.openxmlformats.org/officeDocument/2006/relationships/oleObject" Target="../embeddings/oleObject10.bin"/><Relationship Id="rId4" Type="http://schemas.openxmlformats.org/officeDocument/2006/relationships/image" Target="../media/image28.wmf"/><Relationship Id="rId3" Type="http://schemas.openxmlformats.org/officeDocument/2006/relationships/oleObject" Target="../embeddings/oleObject9.bin"/><Relationship Id="rId2" Type="http://schemas.openxmlformats.org/officeDocument/2006/relationships/image" Target="../media/image19.png"/><Relationship Id="rId1" Type="http://schemas.openxmlformats.org/officeDocument/2006/relationships/tags" Target="../tags/tag33.xml"/></Relationships>
</file>

<file path=ppt/slides/_rels/slide16.xml.rels><?xml version="1.0" encoding="UTF-8" standalone="yes"?>
<Relationships xmlns="http://schemas.openxmlformats.org/package/2006/relationships"><Relationship Id="rId9" Type="http://schemas.openxmlformats.org/officeDocument/2006/relationships/tags" Target="../tags/tag42.xml"/><Relationship Id="rId8" Type="http://schemas.openxmlformats.org/officeDocument/2006/relationships/tags" Target="../tags/tag41.xml"/><Relationship Id="rId7" Type="http://schemas.openxmlformats.org/officeDocument/2006/relationships/tags" Target="../tags/tag40.xml"/><Relationship Id="rId6" Type="http://schemas.openxmlformats.org/officeDocument/2006/relationships/tags" Target="../tags/tag39.xml"/><Relationship Id="rId5" Type="http://schemas.openxmlformats.org/officeDocument/2006/relationships/tags" Target="../tags/tag38.xml"/><Relationship Id="rId4" Type="http://schemas.openxmlformats.org/officeDocument/2006/relationships/tags" Target="../tags/tag37.xml"/><Relationship Id="rId3" Type="http://schemas.openxmlformats.org/officeDocument/2006/relationships/tags" Target="../tags/tag36.xml"/><Relationship Id="rId29" Type="http://schemas.openxmlformats.org/officeDocument/2006/relationships/vmlDrawing" Target="../drawings/vmlDrawing6.vml"/><Relationship Id="rId28" Type="http://schemas.openxmlformats.org/officeDocument/2006/relationships/slideLayout" Target="../slideLayouts/slideLayout5.xml"/><Relationship Id="rId27" Type="http://schemas.openxmlformats.org/officeDocument/2006/relationships/themeOverride" Target="../theme/themeOverride8.xml"/><Relationship Id="rId26" Type="http://schemas.openxmlformats.org/officeDocument/2006/relationships/image" Target="../media/image37.wmf"/><Relationship Id="rId25" Type="http://schemas.openxmlformats.org/officeDocument/2006/relationships/oleObject" Target="../embeddings/oleObject19.bin"/><Relationship Id="rId24" Type="http://schemas.openxmlformats.org/officeDocument/2006/relationships/image" Target="../media/image36.wmf"/><Relationship Id="rId23" Type="http://schemas.openxmlformats.org/officeDocument/2006/relationships/oleObject" Target="../embeddings/oleObject18.bin"/><Relationship Id="rId22" Type="http://schemas.openxmlformats.org/officeDocument/2006/relationships/oleObject" Target="../embeddings/oleObject17.bin"/><Relationship Id="rId21" Type="http://schemas.openxmlformats.org/officeDocument/2006/relationships/tags" Target="../tags/tag43.xml"/><Relationship Id="rId20" Type="http://schemas.openxmlformats.org/officeDocument/2006/relationships/image" Target="../media/image35.wmf"/><Relationship Id="rId2" Type="http://schemas.openxmlformats.org/officeDocument/2006/relationships/tags" Target="../tags/tag35.xml"/><Relationship Id="rId19" Type="http://schemas.openxmlformats.org/officeDocument/2006/relationships/oleObject" Target="../embeddings/oleObject16.bin"/><Relationship Id="rId18" Type="http://schemas.openxmlformats.org/officeDocument/2006/relationships/image" Target="../media/image34.wmf"/><Relationship Id="rId17" Type="http://schemas.openxmlformats.org/officeDocument/2006/relationships/oleObject" Target="../embeddings/oleObject15.bin"/><Relationship Id="rId16" Type="http://schemas.openxmlformats.org/officeDocument/2006/relationships/image" Target="../media/image33.wmf"/><Relationship Id="rId15" Type="http://schemas.openxmlformats.org/officeDocument/2006/relationships/oleObject" Target="../embeddings/oleObject14.bin"/><Relationship Id="rId14" Type="http://schemas.openxmlformats.org/officeDocument/2006/relationships/oleObject" Target="../embeddings/oleObject13.bin"/><Relationship Id="rId13" Type="http://schemas.openxmlformats.org/officeDocument/2006/relationships/image" Target="../media/image32.wmf"/><Relationship Id="rId12" Type="http://schemas.openxmlformats.org/officeDocument/2006/relationships/oleObject" Target="../embeddings/oleObject12.bin"/><Relationship Id="rId11" Type="http://schemas.openxmlformats.org/officeDocument/2006/relationships/image" Target="../media/image31.wmf"/><Relationship Id="rId10" Type="http://schemas.openxmlformats.org/officeDocument/2006/relationships/oleObject" Target="../embeddings/oleObject11.bin"/><Relationship Id="rId1" Type="http://schemas.openxmlformats.org/officeDocument/2006/relationships/tags" Target="../tags/tag34.xml"/></Relationships>
</file>

<file path=ppt/slides/_rels/slide17.xml.rels><?xml version="1.0" encoding="UTF-8" standalone="yes"?>
<Relationships xmlns="http://schemas.openxmlformats.org/package/2006/relationships"><Relationship Id="rId9" Type="http://schemas.openxmlformats.org/officeDocument/2006/relationships/oleObject" Target="../embeddings/oleObject20.bin"/><Relationship Id="rId8" Type="http://schemas.openxmlformats.org/officeDocument/2006/relationships/image" Target="../media/image45.png"/><Relationship Id="rId7" Type="http://schemas.openxmlformats.org/officeDocument/2006/relationships/image" Target="../media/image44.png"/><Relationship Id="rId6" Type="http://schemas.openxmlformats.org/officeDocument/2006/relationships/image" Target="../media/image43.png"/><Relationship Id="rId5" Type="http://schemas.openxmlformats.org/officeDocument/2006/relationships/image" Target="../media/image42.png"/><Relationship Id="rId4" Type="http://schemas.openxmlformats.org/officeDocument/2006/relationships/image" Target="../media/image41.png"/><Relationship Id="rId3" Type="http://schemas.openxmlformats.org/officeDocument/2006/relationships/image" Target="../media/image40.png"/><Relationship Id="rId2" Type="http://schemas.openxmlformats.org/officeDocument/2006/relationships/image" Target="../media/image39.png"/><Relationship Id="rId12" Type="http://schemas.openxmlformats.org/officeDocument/2006/relationships/vmlDrawing" Target="../drawings/vmlDrawing7.vml"/><Relationship Id="rId11" Type="http://schemas.openxmlformats.org/officeDocument/2006/relationships/slideLayout" Target="../slideLayouts/slideLayout4.xml"/><Relationship Id="rId10" Type="http://schemas.openxmlformats.org/officeDocument/2006/relationships/image" Target="../media/image46.wmf"/><Relationship Id="rId1" Type="http://schemas.openxmlformats.org/officeDocument/2006/relationships/image" Target="../media/image38.png"/></Relationships>
</file>

<file path=ppt/slides/_rels/slide18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4.xml"/><Relationship Id="rId8" Type="http://schemas.openxmlformats.org/officeDocument/2006/relationships/image" Target="../media/image38.png"/><Relationship Id="rId7" Type="http://schemas.openxmlformats.org/officeDocument/2006/relationships/image" Target="../media/image50.png"/><Relationship Id="rId6" Type="http://schemas.openxmlformats.org/officeDocument/2006/relationships/image" Target="../media/image49.wmf"/><Relationship Id="rId5" Type="http://schemas.openxmlformats.org/officeDocument/2006/relationships/oleObject" Target="../embeddings/oleObject23.bin"/><Relationship Id="rId4" Type="http://schemas.openxmlformats.org/officeDocument/2006/relationships/image" Target="../media/image48.wmf"/><Relationship Id="rId3" Type="http://schemas.openxmlformats.org/officeDocument/2006/relationships/oleObject" Target="../embeddings/oleObject22.bin"/><Relationship Id="rId2" Type="http://schemas.openxmlformats.org/officeDocument/2006/relationships/image" Target="../media/image47.wmf"/><Relationship Id="rId10" Type="http://schemas.openxmlformats.org/officeDocument/2006/relationships/vmlDrawing" Target="../drawings/vmlDrawing8.vml"/><Relationship Id="rId1" Type="http://schemas.openxmlformats.org/officeDocument/2006/relationships/oleObject" Target="../embeddings/oleObject21.bin"/></Relationships>
</file>

<file path=ppt/slides/_rels/slide19.xml.rels><?xml version="1.0" encoding="UTF-8" standalone="yes"?>
<Relationships xmlns="http://schemas.openxmlformats.org/package/2006/relationships"><Relationship Id="rId6" Type="http://schemas.openxmlformats.org/officeDocument/2006/relationships/vmlDrawing" Target="../drawings/vmlDrawing9.vml"/><Relationship Id="rId5" Type="http://schemas.openxmlformats.org/officeDocument/2006/relationships/slideLayout" Target="../slideLayouts/slideLayout4.xml"/><Relationship Id="rId4" Type="http://schemas.openxmlformats.org/officeDocument/2006/relationships/image" Target="../media/image52.png"/><Relationship Id="rId3" Type="http://schemas.openxmlformats.org/officeDocument/2006/relationships/image" Target="../media/image51.wmf"/><Relationship Id="rId2" Type="http://schemas.openxmlformats.org/officeDocument/2006/relationships/oleObject" Target="../embeddings/oleObject24.bin"/><Relationship Id="rId1" Type="http://schemas.openxmlformats.org/officeDocument/2006/relationships/image" Target="../media/image38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2.xml"/></Relationships>
</file>

<file path=ppt/slides/_rels/slide20.xml.rels><?xml version="1.0" encoding="UTF-8" standalone="yes"?>
<Relationships xmlns="http://schemas.openxmlformats.org/package/2006/relationships"><Relationship Id="rId5" Type="http://schemas.openxmlformats.org/officeDocument/2006/relationships/vmlDrawing" Target="../drawings/vmlDrawing10.vml"/><Relationship Id="rId4" Type="http://schemas.openxmlformats.org/officeDocument/2006/relationships/slideLayout" Target="../slideLayouts/slideLayout4.xml"/><Relationship Id="rId3" Type="http://schemas.openxmlformats.org/officeDocument/2006/relationships/image" Target="../media/image53.wmf"/><Relationship Id="rId2" Type="http://schemas.openxmlformats.org/officeDocument/2006/relationships/oleObject" Target="../embeddings/oleObject25.bin"/><Relationship Id="rId1" Type="http://schemas.openxmlformats.org/officeDocument/2006/relationships/image" Target="../media/image38.png"/></Relationships>
</file>

<file path=ppt/slides/_rels/slide21.xml.rels><?xml version="1.0" encoding="UTF-8" standalone="yes"?>
<Relationships xmlns="http://schemas.openxmlformats.org/package/2006/relationships"><Relationship Id="rId9" Type="http://schemas.openxmlformats.org/officeDocument/2006/relationships/oleObject" Target="../embeddings/oleObject28.bin"/><Relationship Id="rId8" Type="http://schemas.openxmlformats.org/officeDocument/2006/relationships/image" Target="../media/image58.png"/><Relationship Id="rId7" Type="http://schemas.openxmlformats.org/officeDocument/2006/relationships/image" Target="../media/image57.wmf"/><Relationship Id="rId6" Type="http://schemas.openxmlformats.org/officeDocument/2006/relationships/oleObject" Target="../embeddings/oleObject27.bin"/><Relationship Id="rId5" Type="http://schemas.openxmlformats.org/officeDocument/2006/relationships/image" Target="../media/image56.png"/><Relationship Id="rId4" Type="http://schemas.openxmlformats.org/officeDocument/2006/relationships/image" Target="../media/image55.wmf"/><Relationship Id="rId3" Type="http://schemas.openxmlformats.org/officeDocument/2006/relationships/oleObject" Target="../embeddings/oleObject26.bin"/><Relationship Id="rId2" Type="http://schemas.openxmlformats.org/officeDocument/2006/relationships/image" Target="../media/image54.png"/><Relationship Id="rId12" Type="http://schemas.openxmlformats.org/officeDocument/2006/relationships/vmlDrawing" Target="../drawings/vmlDrawing11.vml"/><Relationship Id="rId11" Type="http://schemas.openxmlformats.org/officeDocument/2006/relationships/slideLayout" Target="../slideLayouts/slideLayout4.xml"/><Relationship Id="rId10" Type="http://schemas.openxmlformats.org/officeDocument/2006/relationships/image" Target="../media/image59.wmf"/><Relationship Id="rId1" Type="http://schemas.openxmlformats.org/officeDocument/2006/relationships/image" Target="../media/image38.png"/></Relationships>
</file>

<file path=ppt/slides/_rels/slide22.xml.rels><?xml version="1.0" encoding="UTF-8" standalone="yes"?>
<Relationships xmlns="http://schemas.openxmlformats.org/package/2006/relationships"><Relationship Id="rId9" Type="http://schemas.openxmlformats.org/officeDocument/2006/relationships/tags" Target="../tags/tag52.xml"/><Relationship Id="rId8" Type="http://schemas.openxmlformats.org/officeDocument/2006/relationships/tags" Target="../tags/tag51.xml"/><Relationship Id="rId7" Type="http://schemas.openxmlformats.org/officeDocument/2006/relationships/tags" Target="../tags/tag50.xml"/><Relationship Id="rId6" Type="http://schemas.openxmlformats.org/officeDocument/2006/relationships/tags" Target="../tags/tag49.xml"/><Relationship Id="rId5" Type="http://schemas.openxmlformats.org/officeDocument/2006/relationships/tags" Target="../tags/tag48.xml"/><Relationship Id="rId4" Type="http://schemas.openxmlformats.org/officeDocument/2006/relationships/tags" Target="../tags/tag47.xml"/><Relationship Id="rId3" Type="http://schemas.openxmlformats.org/officeDocument/2006/relationships/tags" Target="../tags/tag46.xml"/><Relationship Id="rId2" Type="http://schemas.openxmlformats.org/officeDocument/2006/relationships/tags" Target="../tags/tag45.xml"/><Relationship Id="rId15" Type="http://schemas.openxmlformats.org/officeDocument/2006/relationships/slideLayout" Target="../slideLayouts/slideLayout5.xml"/><Relationship Id="rId14" Type="http://schemas.openxmlformats.org/officeDocument/2006/relationships/themeOverride" Target="../theme/themeOverride9.xml"/><Relationship Id="rId13" Type="http://schemas.openxmlformats.org/officeDocument/2006/relationships/tags" Target="../tags/tag56.xml"/><Relationship Id="rId12" Type="http://schemas.openxmlformats.org/officeDocument/2006/relationships/tags" Target="../tags/tag55.xml"/><Relationship Id="rId11" Type="http://schemas.openxmlformats.org/officeDocument/2006/relationships/tags" Target="../tags/tag54.xml"/><Relationship Id="rId10" Type="http://schemas.openxmlformats.org/officeDocument/2006/relationships/tags" Target="../tags/tag53.xml"/><Relationship Id="rId1" Type="http://schemas.openxmlformats.org/officeDocument/2006/relationships/tags" Target="../tags/tag44.xml"/></Relationships>
</file>

<file path=ppt/slides/_rels/slide23.xml.rels><?xml version="1.0" encoding="UTF-8" standalone="yes"?>
<Relationships xmlns="http://schemas.openxmlformats.org/package/2006/relationships"><Relationship Id="rId9" Type="http://schemas.openxmlformats.org/officeDocument/2006/relationships/image" Target="../media/image64.wmf"/><Relationship Id="rId8" Type="http://schemas.openxmlformats.org/officeDocument/2006/relationships/oleObject" Target="../embeddings/oleObject32.bin"/><Relationship Id="rId7" Type="http://schemas.openxmlformats.org/officeDocument/2006/relationships/image" Target="../media/image63.png"/><Relationship Id="rId6" Type="http://schemas.openxmlformats.org/officeDocument/2006/relationships/image" Target="../media/image62.wmf"/><Relationship Id="rId5" Type="http://schemas.openxmlformats.org/officeDocument/2006/relationships/oleObject" Target="../embeddings/oleObject31.bin"/><Relationship Id="rId4" Type="http://schemas.openxmlformats.org/officeDocument/2006/relationships/image" Target="../media/image61.wmf"/><Relationship Id="rId3" Type="http://schemas.openxmlformats.org/officeDocument/2006/relationships/oleObject" Target="../embeddings/oleObject30.bin"/><Relationship Id="rId21" Type="http://schemas.openxmlformats.org/officeDocument/2006/relationships/vmlDrawing" Target="../drawings/vmlDrawing12.vml"/><Relationship Id="rId20" Type="http://schemas.openxmlformats.org/officeDocument/2006/relationships/slideLayout" Target="../slideLayouts/slideLayout4.xml"/><Relationship Id="rId2" Type="http://schemas.openxmlformats.org/officeDocument/2006/relationships/image" Target="../media/image60.wmf"/><Relationship Id="rId19" Type="http://schemas.openxmlformats.org/officeDocument/2006/relationships/image" Target="../media/image69.wmf"/><Relationship Id="rId18" Type="http://schemas.openxmlformats.org/officeDocument/2006/relationships/oleObject" Target="../embeddings/oleObject37.bin"/><Relationship Id="rId17" Type="http://schemas.openxmlformats.org/officeDocument/2006/relationships/image" Target="../media/image68.wmf"/><Relationship Id="rId16" Type="http://schemas.openxmlformats.org/officeDocument/2006/relationships/oleObject" Target="../embeddings/oleObject36.bin"/><Relationship Id="rId15" Type="http://schemas.openxmlformats.org/officeDocument/2006/relationships/image" Target="../media/image67.wmf"/><Relationship Id="rId14" Type="http://schemas.openxmlformats.org/officeDocument/2006/relationships/oleObject" Target="../embeddings/oleObject35.bin"/><Relationship Id="rId13" Type="http://schemas.openxmlformats.org/officeDocument/2006/relationships/image" Target="../media/image66.wmf"/><Relationship Id="rId12" Type="http://schemas.openxmlformats.org/officeDocument/2006/relationships/oleObject" Target="../embeddings/oleObject34.bin"/><Relationship Id="rId11" Type="http://schemas.openxmlformats.org/officeDocument/2006/relationships/image" Target="../media/image65.wmf"/><Relationship Id="rId10" Type="http://schemas.openxmlformats.org/officeDocument/2006/relationships/oleObject" Target="../embeddings/oleObject33.bin"/><Relationship Id="rId1" Type="http://schemas.openxmlformats.org/officeDocument/2006/relationships/oleObject" Target="../embeddings/oleObject29.bin"/></Relationships>
</file>

<file path=ppt/slides/_rels/slide24.xml.rels><?xml version="1.0" encoding="UTF-8" standalone="yes"?>
<Relationships xmlns="http://schemas.openxmlformats.org/package/2006/relationships"><Relationship Id="rId9" Type="http://schemas.openxmlformats.org/officeDocument/2006/relationships/image" Target="../media/image73.wmf"/><Relationship Id="rId8" Type="http://schemas.openxmlformats.org/officeDocument/2006/relationships/oleObject" Target="../embeddings/oleObject41.bin"/><Relationship Id="rId7" Type="http://schemas.openxmlformats.org/officeDocument/2006/relationships/image" Target="../media/image72.wmf"/><Relationship Id="rId6" Type="http://schemas.openxmlformats.org/officeDocument/2006/relationships/oleObject" Target="../embeddings/oleObject40.bin"/><Relationship Id="rId5" Type="http://schemas.openxmlformats.org/officeDocument/2006/relationships/image" Target="../media/image71.wmf"/><Relationship Id="rId4" Type="http://schemas.openxmlformats.org/officeDocument/2006/relationships/oleObject" Target="../embeddings/oleObject39.bin"/><Relationship Id="rId3" Type="http://schemas.openxmlformats.org/officeDocument/2006/relationships/image" Target="../media/image70.wmf"/><Relationship Id="rId2" Type="http://schemas.openxmlformats.org/officeDocument/2006/relationships/oleObject" Target="../embeddings/oleObject38.bin"/><Relationship Id="rId14" Type="http://schemas.openxmlformats.org/officeDocument/2006/relationships/vmlDrawing" Target="../drawings/vmlDrawing13.vml"/><Relationship Id="rId13" Type="http://schemas.openxmlformats.org/officeDocument/2006/relationships/slideLayout" Target="../slideLayouts/slideLayout5.xml"/><Relationship Id="rId12" Type="http://schemas.openxmlformats.org/officeDocument/2006/relationships/themeOverride" Target="../theme/themeOverride10.xml"/><Relationship Id="rId11" Type="http://schemas.openxmlformats.org/officeDocument/2006/relationships/image" Target="../media/image75.png"/><Relationship Id="rId10" Type="http://schemas.openxmlformats.org/officeDocument/2006/relationships/image" Target="../media/image74.png"/><Relationship Id="rId1" Type="http://schemas.openxmlformats.org/officeDocument/2006/relationships/tags" Target="../tags/tag57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11.xml"/></Relationships>
</file>

<file path=ppt/slides/_rels/slide26.xml.rels><?xml version="1.0" encoding="UTF-8" standalone="yes"?>
<Relationships xmlns="http://schemas.openxmlformats.org/package/2006/relationships"><Relationship Id="rId9" Type="http://schemas.openxmlformats.org/officeDocument/2006/relationships/tags" Target="../tags/tag66.xml"/><Relationship Id="rId8" Type="http://schemas.openxmlformats.org/officeDocument/2006/relationships/tags" Target="../tags/tag65.xml"/><Relationship Id="rId7" Type="http://schemas.openxmlformats.org/officeDocument/2006/relationships/tags" Target="../tags/tag64.xml"/><Relationship Id="rId6" Type="http://schemas.openxmlformats.org/officeDocument/2006/relationships/tags" Target="../tags/tag63.xml"/><Relationship Id="rId5" Type="http://schemas.openxmlformats.org/officeDocument/2006/relationships/tags" Target="../tags/tag62.xml"/><Relationship Id="rId4" Type="http://schemas.openxmlformats.org/officeDocument/2006/relationships/tags" Target="../tags/tag61.xml"/><Relationship Id="rId3" Type="http://schemas.openxmlformats.org/officeDocument/2006/relationships/tags" Target="../tags/tag60.xml"/><Relationship Id="rId2" Type="http://schemas.openxmlformats.org/officeDocument/2006/relationships/tags" Target="../tags/tag59.xml"/><Relationship Id="rId12" Type="http://schemas.openxmlformats.org/officeDocument/2006/relationships/slideLayout" Target="../slideLayouts/slideLayout5.xml"/><Relationship Id="rId11" Type="http://schemas.openxmlformats.org/officeDocument/2006/relationships/themeOverride" Target="../theme/themeOverride12.xml"/><Relationship Id="rId10" Type="http://schemas.openxmlformats.org/officeDocument/2006/relationships/tags" Target="../tags/tag67.xml"/><Relationship Id="rId1" Type="http://schemas.openxmlformats.org/officeDocument/2006/relationships/tags" Target="../tags/tag58.xml"/></Relationships>
</file>

<file path=ppt/slides/_rels/slide27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14.vml"/><Relationship Id="rId6" Type="http://schemas.openxmlformats.org/officeDocument/2006/relationships/slideLayout" Target="../slideLayouts/slideLayout6.xml"/><Relationship Id="rId5" Type="http://schemas.openxmlformats.org/officeDocument/2006/relationships/themeOverride" Target="../theme/themeOverride13.xml"/><Relationship Id="rId4" Type="http://schemas.openxmlformats.org/officeDocument/2006/relationships/tags" Target="../tags/tag69.xml"/><Relationship Id="rId3" Type="http://schemas.openxmlformats.org/officeDocument/2006/relationships/image" Target="../media/image3.emf"/><Relationship Id="rId2" Type="http://schemas.openxmlformats.org/officeDocument/2006/relationships/oleObject" Target="../embeddings/oleObject42.bin"/><Relationship Id="rId1" Type="http://schemas.openxmlformats.org/officeDocument/2006/relationships/tags" Target="../tags/tag68.xml"/></Relationships>
</file>

<file path=ppt/slides/_rels/slide3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5.xml"/><Relationship Id="rId8" Type="http://schemas.openxmlformats.org/officeDocument/2006/relationships/themeOverride" Target="../theme/themeOverride3.xml"/><Relationship Id="rId7" Type="http://schemas.openxmlformats.org/officeDocument/2006/relationships/image" Target="../media/image7.wmf"/><Relationship Id="rId6" Type="http://schemas.openxmlformats.org/officeDocument/2006/relationships/oleObject" Target="../embeddings/oleObject3.bin"/><Relationship Id="rId5" Type="http://schemas.openxmlformats.org/officeDocument/2006/relationships/image" Target="../media/image6.wmf"/><Relationship Id="rId4" Type="http://schemas.openxmlformats.org/officeDocument/2006/relationships/oleObject" Target="../embeddings/oleObject2.bin"/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0" Type="http://schemas.openxmlformats.org/officeDocument/2006/relationships/vmlDrawing" Target="../drawings/vmlDrawing2.vml"/><Relationship Id="rId1" Type="http://schemas.openxmlformats.org/officeDocument/2006/relationships/tags" Target="../tags/tag3.xml"/></Relationships>
</file>

<file path=ppt/slides/_rels/slide4.xml.rels><?xml version="1.0" encoding="UTF-8" standalone="yes"?>
<Relationships xmlns="http://schemas.openxmlformats.org/package/2006/relationships"><Relationship Id="rId9" Type="http://schemas.openxmlformats.org/officeDocument/2006/relationships/tags" Target="../tags/tag11.xml"/><Relationship Id="rId8" Type="http://schemas.openxmlformats.org/officeDocument/2006/relationships/tags" Target="../tags/tag10.xml"/><Relationship Id="rId7" Type="http://schemas.openxmlformats.org/officeDocument/2006/relationships/tags" Target="../tags/tag9.xml"/><Relationship Id="rId6" Type="http://schemas.openxmlformats.org/officeDocument/2006/relationships/tags" Target="../tags/tag8.xml"/><Relationship Id="rId5" Type="http://schemas.openxmlformats.org/officeDocument/2006/relationships/tags" Target="../tags/tag7.xml"/><Relationship Id="rId4" Type="http://schemas.openxmlformats.org/officeDocument/2006/relationships/tags" Target="../tags/tag6.xml"/><Relationship Id="rId3" Type="http://schemas.openxmlformats.org/officeDocument/2006/relationships/tags" Target="../tags/tag5.xml"/><Relationship Id="rId2" Type="http://schemas.openxmlformats.org/officeDocument/2006/relationships/image" Target="../media/image8.png"/><Relationship Id="rId14" Type="http://schemas.openxmlformats.org/officeDocument/2006/relationships/slideLayout" Target="../slideLayouts/slideLayout5.xml"/><Relationship Id="rId13" Type="http://schemas.openxmlformats.org/officeDocument/2006/relationships/themeOverride" Target="../theme/themeOverride4.xml"/><Relationship Id="rId12" Type="http://schemas.openxmlformats.org/officeDocument/2006/relationships/tags" Target="../tags/tag14.xml"/><Relationship Id="rId11" Type="http://schemas.openxmlformats.org/officeDocument/2006/relationships/tags" Target="../tags/tag13.xml"/><Relationship Id="rId10" Type="http://schemas.openxmlformats.org/officeDocument/2006/relationships/tags" Target="../tags/tag12.xml"/><Relationship Id="rId1" Type="http://schemas.openxmlformats.org/officeDocument/2006/relationships/tags" Target="../tags/tag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hemeOverride" Target="../theme/themeOverride5.xml"/><Relationship Id="rId1" Type="http://schemas.openxmlformats.org/officeDocument/2006/relationships/tags" Target="../tags/tag1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6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image" Target="../media/image9.png"/></Relationships>
</file>

<file path=ppt/slides/_rels/slide8.xml.rels><?xml version="1.0" encoding="UTF-8" standalone="yes"?>
<Relationships xmlns="http://schemas.openxmlformats.org/package/2006/relationships"><Relationship Id="rId5" Type="http://schemas.openxmlformats.org/officeDocument/2006/relationships/slideLayout" Target="../slideLayouts/slideLayout4.xml"/><Relationship Id="rId4" Type="http://schemas.openxmlformats.org/officeDocument/2006/relationships/image" Target="../media/image12.png"/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image" Target="../media/image9.png"/></Relationships>
</file>

<file path=ppt/slides/_rels/slide9.xml.rels><?xml version="1.0" encoding="UTF-8" standalone="yes"?>
<Relationships xmlns="http://schemas.openxmlformats.org/package/2006/relationships"><Relationship Id="rId5" Type="http://schemas.openxmlformats.org/officeDocument/2006/relationships/slideLayout" Target="../slideLayouts/slideLayout4.xml"/><Relationship Id="rId4" Type="http://schemas.openxmlformats.org/officeDocument/2006/relationships/image" Target="../media/image15.png"/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image" Target="../media/image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192" y="85844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1" name="think-cell Slide" r:id="rId2" imgW="9525" imgH="9525" progId="TCLayout.ActiveDocument.1">
                  <p:embed/>
                </p:oleObj>
              </mc:Choice>
              <mc:Fallback>
                <p:oleObj name="think-cell Slide" r:id="rId2" imgW="9525" imgH="9525" progId="TCLayout.ActiveDocument.1">
                  <p:embed/>
                  <p:pic>
                    <p:nvPicPr>
                      <p:cNvPr id="0" name="对象 2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25192" y="85844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/>
          <p:cNvSpPr/>
          <p:nvPr>
            <p:custDataLst>
              <p:tags r:id="rId4"/>
            </p:custDataLst>
          </p:nvPr>
        </p:nvSpPr>
        <p:spPr>
          <a:xfrm>
            <a:off x="1524000" y="857250"/>
            <a:ext cx="119063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</a:pPr>
            <a:endParaRPr lang="en-US" altLang="zh-CN" b="1" u="none" dirty="0">
              <a:solidFill>
                <a:srgbClr val="000000"/>
              </a:solidFill>
              <a:latin typeface="宋体" panose="02010600030101010101" pitchFamily="2" charset="-122"/>
              <a:ea typeface="宋体" panose="02010600030101010101" pitchFamily="2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副标题 4"/>
          <p:cNvSpPr>
            <a:spLocks noGrp="1"/>
          </p:cNvSpPr>
          <p:nvPr>
            <p:ph type="subTitle" idx="1"/>
          </p:nvPr>
        </p:nvSpPr>
        <p:spPr>
          <a:xfrm>
            <a:off x="3467100" y="3630930"/>
            <a:ext cx="5676265" cy="593725"/>
          </a:xfrm>
        </p:spPr>
        <p:txBody>
          <a:bodyPr/>
          <a:lstStyle/>
          <a:p>
            <a:r>
              <a:rPr lang="zh-CN" altLang="en-US" sz="2800" dirty="0">
                <a:sym typeface="+mn-ea"/>
              </a:rPr>
              <a:t>函数的零点</a:t>
            </a:r>
            <a:r>
              <a:rPr lang="zh-CN" altLang="en-US" sz="2800" dirty="0"/>
              <a:t>第一课时</a:t>
            </a:r>
            <a:endParaRPr lang="zh-CN" altLang="en-US" sz="2800" dirty="0"/>
          </a:p>
        </p:txBody>
      </p:sp>
      <p:sp>
        <p:nvSpPr>
          <p:cNvPr id="4" name="标题 3"/>
          <p:cNvSpPr>
            <a:spLocks noGrp="1"/>
          </p:cNvSpPr>
          <p:nvPr>
            <p:ph type="ctrTitle"/>
          </p:nvPr>
        </p:nvSpPr>
        <p:spPr>
          <a:xfrm>
            <a:off x="4108450" y="2313305"/>
            <a:ext cx="4471670" cy="1117600"/>
          </a:xfrm>
        </p:spPr>
        <p:txBody>
          <a:bodyPr/>
          <a:lstStyle/>
          <a:p>
            <a:r>
              <a:rPr lang="zh-CN" altLang="en-US" sz="3200" dirty="0"/>
              <a:t>高三数学专题复习课</a:t>
            </a:r>
            <a:endParaRPr lang="zh-CN" altLang="en-US" sz="3200" dirty="0"/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/>
          </p:nvPr>
        </p:nvSpPr>
        <p:spPr>
          <a:xfrm>
            <a:off x="4108450" y="5175250"/>
            <a:ext cx="4394835" cy="396875"/>
          </a:xfrm>
        </p:spPr>
        <p:txBody>
          <a:bodyPr/>
          <a:lstStyle/>
          <a:p>
            <a:r>
              <a:rPr lang="zh-CN" altLang="en-US" sz="1800" b="1" u="none" dirty="0">
                <a:solidFill>
                  <a:srgbClr val="000000"/>
                </a:solidFill>
                <a:cs typeface="等线" panose="02010600030101010101" charset="-122"/>
              </a:rPr>
              <a:t>铜陵市第一中学  潘宇琦</a:t>
            </a:r>
            <a:endParaRPr lang="zh-CN" altLang="en-US" sz="1800" b="1" u="none" dirty="0">
              <a:solidFill>
                <a:srgbClr val="000000"/>
              </a:solidFill>
              <a:cs typeface="等线" panose="02010600030101010101" charset="-122"/>
            </a:endParaRPr>
          </a:p>
        </p:txBody>
      </p:sp>
      <p:cxnSp>
        <p:nvCxnSpPr>
          <p:cNvPr id="10" name="直接连接符 9"/>
          <p:cNvCxnSpPr/>
          <p:nvPr/>
        </p:nvCxnSpPr>
        <p:spPr>
          <a:xfrm>
            <a:off x="3945098" y="3341993"/>
            <a:ext cx="4722019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直接连接符 24"/>
          <p:cNvCxnSpPr/>
          <p:nvPr/>
        </p:nvCxnSpPr>
        <p:spPr>
          <a:xfrm>
            <a:off x="3945098" y="2313293"/>
            <a:ext cx="4722019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文本框 6"/>
          <p:cNvSpPr txBox="1"/>
          <p:nvPr/>
        </p:nvSpPr>
        <p:spPr>
          <a:xfrm>
            <a:off x="1843405" y="349885"/>
            <a:ext cx="8923655" cy="53403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</a:pPr>
            <a:r>
              <a:rPr lang="zh-CN" altLang="en-US" sz="3200" b="1" u="none">
                <a:solidFill>
                  <a:srgbClr val="000000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+mj-ea"/>
                <a:ea typeface="+mj-ea"/>
              </a:rPr>
              <a:t>铜陵市新型冠状病毒疫情防控期间名师课堂</a:t>
            </a:r>
            <a:endParaRPr lang="zh-CN" altLang="en-US" sz="3200" b="1" u="none">
              <a:solidFill>
                <a:srgbClr val="000000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+mj-ea"/>
              <a:ea typeface="+mj-ea"/>
            </a:endParaRP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五边形 3"/>
          <p:cNvSpPr/>
          <p:nvPr/>
        </p:nvSpPr>
        <p:spPr>
          <a:xfrm>
            <a:off x="589915" y="404495"/>
            <a:ext cx="1417320" cy="619125"/>
          </a:xfrm>
          <a:prstGeom prst="homePlat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/>
              <a:t>练习</a:t>
            </a:r>
            <a:r>
              <a:rPr lang="en-US" altLang="zh-CN"/>
              <a:t>1</a:t>
            </a:r>
            <a:endParaRPr lang="en-US" altLang="zh-CN"/>
          </a:p>
        </p:txBody>
      </p:sp>
      <p:sp>
        <p:nvSpPr>
          <p:cNvPr id="9" name="three-books_73757"/>
          <p:cNvSpPr>
            <a:spLocks noChangeAspect="1"/>
          </p:cNvSpPr>
          <p:nvPr/>
        </p:nvSpPr>
        <p:spPr bwMode="auto">
          <a:xfrm>
            <a:off x="11582358" y="6383442"/>
            <a:ext cx="609685" cy="474136"/>
          </a:xfrm>
          <a:custGeom>
            <a:avLst/>
            <a:gdLst>
              <a:gd name="T0" fmla="*/ 2471 w 2903"/>
              <a:gd name="T1" fmla="*/ 1598 h 2261"/>
              <a:gd name="T2" fmla="*/ 2471 w 2903"/>
              <a:gd name="T3" fmla="*/ 2127 h 2261"/>
              <a:gd name="T4" fmla="*/ 2505 w 2903"/>
              <a:gd name="T5" fmla="*/ 2127 h 2261"/>
              <a:gd name="T6" fmla="*/ 2572 w 2903"/>
              <a:gd name="T7" fmla="*/ 2194 h 2261"/>
              <a:gd name="T8" fmla="*/ 2505 w 2903"/>
              <a:gd name="T9" fmla="*/ 2261 h 2261"/>
              <a:gd name="T10" fmla="*/ 2405 w 2903"/>
              <a:gd name="T11" fmla="*/ 2261 h 2261"/>
              <a:gd name="T12" fmla="*/ 2124 w 2903"/>
              <a:gd name="T13" fmla="*/ 2261 h 2261"/>
              <a:gd name="T14" fmla="*/ 398 w 2903"/>
              <a:gd name="T15" fmla="*/ 2261 h 2261"/>
              <a:gd name="T16" fmla="*/ 0 w 2903"/>
              <a:gd name="T17" fmla="*/ 1863 h 2261"/>
              <a:gd name="T18" fmla="*/ 398 w 2903"/>
              <a:gd name="T19" fmla="*/ 1465 h 2261"/>
              <a:gd name="T20" fmla="*/ 2124 w 2903"/>
              <a:gd name="T21" fmla="*/ 1465 h 2261"/>
              <a:gd name="T22" fmla="*/ 2405 w 2903"/>
              <a:gd name="T23" fmla="*/ 1465 h 2261"/>
              <a:gd name="T24" fmla="*/ 2505 w 2903"/>
              <a:gd name="T25" fmla="*/ 1465 h 2261"/>
              <a:gd name="T26" fmla="*/ 2572 w 2903"/>
              <a:gd name="T27" fmla="*/ 1532 h 2261"/>
              <a:gd name="T28" fmla="*/ 2505 w 2903"/>
              <a:gd name="T29" fmla="*/ 1598 h 2261"/>
              <a:gd name="T30" fmla="*/ 2471 w 2903"/>
              <a:gd name="T31" fmla="*/ 1598 h 2261"/>
              <a:gd name="T32" fmla="*/ 2836 w 2903"/>
              <a:gd name="T33" fmla="*/ 1195 h 2261"/>
              <a:gd name="T34" fmla="*/ 2786 w 2903"/>
              <a:gd name="T35" fmla="*/ 1195 h 2261"/>
              <a:gd name="T36" fmla="*/ 2786 w 2903"/>
              <a:gd name="T37" fmla="*/ 786 h 2261"/>
              <a:gd name="T38" fmla="*/ 2836 w 2903"/>
              <a:gd name="T39" fmla="*/ 786 h 2261"/>
              <a:gd name="T40" fmla="*/ 2903 w 2903"/>
              <a:gd name="T41" fmla="*/ 720 h 2261"/>
              <a:gd name="T42" fmla="*/ 2836 w 2903"/>
              <a:gd name="T43" fmla="*/ 653 h 2261"/>
              <a:gd name="T44" fmla="*/ 2720 w 2903"/>
              <a:gd name="T45" fmla="*/ 653 h 2261"/>
              <a:gd name="T46" fmla="*/ 2455 w 2903"/>
              <a:gd name="T47" fmla="*/ 653 h 2261"/>
              <a:gd name="T48" fmla="*/ 1005 w 2903"/>
              <a:gd name="T49" fmla="*/ 653 h 2261"/>
              <a:gd name="T50" fmla="*/ 668 w 2903"/>
              <a:gd name="T51" fmla="*/ 991 h 2261"/>
              <a:gd name="T52" fmla="*/ 1005 w 2903"/>
              <a:gd name="T53" fmla="*/ 1328 h 2261"/>
              <a:gd name="T54" fmla="*/ 2455 w 2903"/>
              <a:gd name="T55" fmla="*/ 1328 h 2261"/>
              <a:gd name="T56" fmla="*/ 2720 w 2903"/>
              <a:gd name="T57" fmla="*/ 1328 h 2261"/>
              <a:gd name="T58" fmla="*/ 2836 w 2903"/>
              <a:gd name="T59" fmla="*/ 1328 h 2261"/>
              <a:gd name="T60" fmla="*/ 2903 w 2903"/>
              <a:gd name="T61" fmla="*/ 1262 h 2261"/>
              <a:gd name="T62" fmla="*/ 2836 w 2903"/>
              <a:gd name="T63" fmla="*/ 1195 h 2261"/>
              <a:gd name="T64" fmla="*/ 226 w 2903"/>
              <a:gd name="T65" fmla="*/ 405 h 2261"/>
              <a:gd name="T66" fmla="*/ 159 w 2903"/>
              <a:gd name="T67" fmla="*/ 472 h 2261"/>
              <a:gd name="T68" fmla="*/ 226 w 2903"/>
              <a:gd name="T69" fmla="*/ 539 h 2261"/>
              <a:gd name="T70" fmla="*/ 323 w 2903"/>
              <a:gd name="T71" fmla="*/ 539 h 2261"/>
              <a:gd name="T72" fmla="*/ 671 w 2903"/>
              <a:gd name="T73" fmla="*/ 539 h 2261"/>
              <a:gd name="T74" fmla="*/ 2248 w 2903"/>
              <a:gd name="T75" fmla="*/ 539 h 2261"/>
              <a:gd name="T76" fmla="*/ 2517 w 2903"/>
              <a:gd name="T77" fmla="*/ 269 h 2261"/>
              <a:gd name="T78" fmla="*/ 2248 w 2903"/>
              <a:gd name="T79" fmla="*/ 0 h 2261"/>
              <a:gd name="T80" fmla="*/ 671 w 2903"/>
              <a:gd name="T81" fmla="*/ 0 h 2261"/>
              <a:gd name="T82" fmla="*/ 323 w 2903"/>
              <a:gd name="T83" fmla="*/ 0 h 2261"/>
              <a:gd name="T84" fmla="*/ 226 w 2903"/>
              <a:gd name="T85" fmla="*/ 0 h 2261"/>
              <a:gd name="T86" fmla="*/ 159 w 2903"/>
              <a:gd name="T87" fmla="*/ 66 h 2261"/>
              <a:gd name="T88" fmla="*/ 226 w 2903"/>
              <a:gd name="T89" fmla="*/ 133 h 2261"/>
              <a:gd name="T90" fmla="*/ 257 w 2903"/>
              <a:gd name="T91" fmla="*/ 133 h 2261"/>
              <a:gd name="T92" fmla="*/ 257 w 2903"/>
              <a:gd name="T93" fmla="*/ 405 h 2261"/>
              <a:gd name="T94" fmla="*/ 226 w 2903"/>
              <a:gd name="T95" fmla="*/ 405 h 22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2903" h="2261">
                <a:moveTo>
                  <a:pt x="2471" y="1598"/>
                </a:moveTo>
                <a:lnTo>
                  <a:pt x="2471" y="2127"/>
                </a:lnTo>
                <a:lnTo>
                  <a:pt x="2505" y="2127"/>
                </a:lnTo>
                <a:cubicBezTo>
                  <a:pt x="2542" y="2127"/>
                  <a:pt x="2572" y="2157"/>
                  <a:pt x="2572" y="2194"/>
                </a:cubicBezTo>
                <a:cubicBezTo>
                  <a:pt x="2572" y="2231"/>
                  <a:pt x="2542" y="2261"/>
                  <a:pt x="2505" y="2261"/>
                </a:cubicBezTo>
                <a:lnTo>
                  <a:pt x="2405" y="2261"/>
                </a:lnTo>
                <a:lnTo>
                  <a:pt x="2124" y="2261"/>
                </a:lnTo>
                <a:lnTo>
                  <a:pt x="398" y="2261"/>
                </a:lnTo>
                <a:cubicBezTo>
                  <a:pt x="178" y="2261"/>
                  <a:pt x="0" y="2082"/>
                  <a:pt x="0" y="1863"/>
                </a:cubicBezTo>
                <a:cubicBezTo>
                  <a:pt x="0" y="1643"/>
                  <a:pt x="178" y="1465"/>
                  <a:pt x="398" y="1465"/>
                </a:cubicBezTo>
                <a:lnTo>
                  <a:pt x="2124" y="1465"/>
                </a:lnTo>
                <a:lnTo>
                  <a:pt x="2405" y="1465"/>
                </a:lnTo>
                <a:lnTo>
                  <a:pt x="2505" y="1465"/>
                </a:lnTo>
                <a:cubicBezTo>
                  <a:pt x="2542" y="1465"/>
                  <a:pt x="2572" y="1495"/>
                  <a:pt x="2572" y="1532"/>
                </a:cubicBezTo>
                <a:cubicBezTo>
                  <a:pt x="2572" y="1568"/>
                  <a:pt x="2542" y="1598"/>
                  <a:pt x="2505" y="1598"/>
                </a:cubicBezTo>
                <a:lnTo>
                  <a:pt x="2471" y="1598"/>
                </a:lnTo>
                <a:close/>
                <a:moveTo>
                  <a:pt x="2836" y="1195"/>
                </a:moveTo>
                <a:lnTo>
                  <a:pt x="2786" y="1195"/>
                </a:lnTo>
                <a:lnTo>
                  <a:pt x="2786" y="786"/>
                </a:lnTo>
                <a:lnTo>
                  <a:pt x="2836" y="786"/>
                </a:lnTo>
                <a:cubicBezTo>
                  <a:pt x="2873" y="786"/>
                  <a:pt x="2903" y="757"/>
                  <a:pt x="2903" y="720"/>
                </a:cubicBezTo>
                <a:cubicBezTo>
                  <a:pt x="2903" y="683"/>
                  <a:pt x="2873" y="653"/>
                  <a:pt x="2836" y="653"/>
                </a:cubicBezTo>
                <a:lnTo>
                  <a:pt x="2720" y="653"/>
                </a:lnTo>
                <a:lnTo>
                  <a:pt x="2455" y="653"/>
                </a:lnTo>
                <a:lnTo>
                  <a:pt x="1005" y="653"/>
                </a:lnTo>
                <a:cubicBezTo>
                  <a:pt x="819" y="653"/>
                  <a:pt x="668" y="805"/>
                  <a:pt x="668" y="991"/>
                </a:cubicBezTo>
                <a:cubicBezTo>
                  <a:pt x="668" y="1177"/>
                  <a:pt x="819" y="1328"/>
                  <a:pt x="1005" y="1328"/>
                </a:cubicBezTo>
                <a:lnTo>
                  <a:pt x="2455" y="1328"/>
                </a:lnTo>
                <a:lnTo>
                  <a:pt x="2720" y="1328"/>
                </a:lnTo>
                <a:lnTo>
                  <a:pt x="2836" y="1328"/>
                </a:lnTo>
                <a:cubicBezTo>
                  <a:pt x="2873" y="1328"/>
                  <a:pt x="2903" y="1299"/>
                  <a:pt x="2903" y="1262"/>
                </a:cubicBezTo>
                <a:cubicBezTo>
                  <a:pt x="2903" y="1225"/>
                  <a:pt x="2873" y="1195"/>
                  <a:pt x="2836" y="1195"/>
                </a:cubicBezTo>
                <a:close/>
                <a:moveTo>
                  <a:pt x="226" y="405"/>
                </a:moveTo>
                <a:cubicBezTo>
                  <a:pt x="189" y="405"/>
                  <a:pt x="159" y="435"/>
                  <a:pt x="159" y="472"/>
                </a:cubicBezTo>
                <a:cubicBezTo>
                  <a:pt x="159" y="509"/>
                  <a:pt x="189" y="539"/>
                  <a:pt x="226" y="539"/>
                </a:cubicBezTo>
                <a:lnTo>
                  <a:pt x="323" y="539"/>
                </a:lnTo>
                <a:lnTo>
                  <a:pt x="671" y="539"/>
                </a:lnTo>
                <a:lnTo>
                  <a:pt x="2248" y="539"/>
                </a:lnTo>
                <a:cubicBezTo>
                  <a:pt x="2396" y="539"/>
                  <a:pt x="2517" y="418"/>
                  <a:pt x="2517" y="269"/>
                </a:cubicBezTo>
                <a:cubicBezTo>
                  <a:pt x="2517" y="121"/>
                  <a:pt x="2396" y="0"/>
                  <a:pt x="2248" y="0"/>
                </a:cubicBezTo>
                <a:lnTo>
                  <a:pt x="671" y="0"/>
                </a:lnTo>
                <a:lnTo>
                  <a:pt x="323" y="0"/>
                </a:lnTo>
                <a:lnTo>
                  <a:pt x="226" y="0"/>
                </a:lnTo>
                <a:cubicBezTo>
                  <a:pt x="189" y="0"/>
                  <a:pt x="159" y="30"/>
                  <a:pt x="159" y="66"/>
                </a:cubicBezTo>
                <a:cubicBezTo>
                  <a:pt x="159" y="103"/>
                  <a:pt x="189" y="133"/>
                  <a:pt x="226" y="133"/>
                </a:cubicBezTo>
                <a:lnTo>
                  <a:pt x="257" y="133"/>
                </a:lnTo>
                <a:lnTo>
                  <a:pt x="257" y="405"/>
                </a:lnTo>
                <a:lnTo>
                  <a:pt x="226" y="405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11" name="up-triangle_59124"/>
          <p:cNvSpPr>
            <a:spLocks noChangeAspect="1"/>
          </p:cNvSpPr>
          <p:nvPr/>
        </p:nvSpPr>
        <p:spPr bwMode="auto">
          <a:xfrm>
            <a:off x="11582357" y="-248"/>
            <a:ext cx="609685" cy="325616"/>
          </a:xfrm>
          <a:custGeom>
            <a:avLst/>
            <a:gdLst>
              <a:gd name="T0" fmla="*/ 1600 w 1707"/>
              <a:gd name="T1" fmla="*/ 0 h 913"/>
              <a:gd name="T2" fmla="*/ 107 w 1707"/>
              <a:gd name="T3" fmla="*/ 0 h 913"/>
              <a:gd name="T4" fmla="*/ 51 w 1707"/>
              <a:gd name="T5" fmla="*/ 136 h 913"/>
              <a:gd name="T6" fmla="*/ 797 w 1707"/>
              <a:gd name="T7" fmla="*/ 882 h 913"/>
              <a:gd name="T8" fmla="*/ 909 w 1707"/>
              <a:gd name="T9" fmla="*/ 882 h 913"/>
              <a:gd name="T10" fmla="*/ 1656 w 1707"/>
              <a:gd name="T11" fmla="*/ 136 h 913"/>
              <a:gd name="T12" fmla="*/ 1600 w 1707"/>
              <a:gd name="T13" fmla="*/ 0 h 9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707" h="913">
                <a:moveTo>
                  <a:pt x="1600" y="0"/>
                </a:moveTo>
                <a:lnTo>
                  <a:pt x="107" y="0"/>
                </a:lnTo>
                <a:cubicBezTo>
                  <a:pt x="36" y="0"/>
                  <a:pt x="0" y="85"/>
                  <a:pt x="51" y="136"/>
                </a:cubicBezTo>
                <a:lnTo>
                  <a:pt x="797" y="882"/>
                </a:lnTo>
                <a:cubicBezTo>
                  <a:pt x="828" y="913"/>
                  <a:pt x="879" y="913"/>
                  <a:pt x="909" y="882"/>
                </a:cubicBezTo>
                <a:lnTo>
                  <a:pt x="1656" y="136"/>
                </a:lnTo>
                <a:cubicBezTo>
                  <a:pt x="1707" y="85"/>
                  <a:pt x="1671" y="0"/>
                  <a:pt x="1600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pic>
        <p:nvPicPr>
          <p:cNvPr id="3" name="图片 2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2"/>
          <a:stretch>
            <a:fillRect/>
          </a:stretch>
        </p:blipFill>
        <p:spPr>
          <a:xfrm>
            <a:off x="606425" y="1148080"/>
            <a:ext cx="10979785" cy="2016760"/>
          </a:xfrm>
          <a:prstGeom prst="rect">
            <a:avLst/>
          </a:prstGeom>
        </p:spPr>
      </p:pic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直接连接符 10"/>
          <p:cNvCxnSpPr/>
          <p:nvPr/>
        </p:nvCxnSpPr>
        <p:spPr>
          <a:xfrm flipH="1">
            <a:off x="1907015" y="690880"/>
            <a:ext cx="9610" cy="5430515"/>
          </a:xfrm>
          <a:prstGeom prst="line">
            <a:avLst/>
          </a:prstGeom>
          <a:solidFill>
            <a:srgbClr val="FFCC00"/>
          </a:solidFill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2" name="poetry_91022"/>
          <p:cNvSpPr>
            <a:spLocks noChangeAspect="1"/>
          </p:cNvSpPr>
          <p:nvPr>
            <p:custDataLst>
              <p:tags r:id="rId1"/>
            </p:custDataLst>
          </p:nvPr>
        </p:nvSpPr>
        <p:spPr bwMode="auto">
          <a:xfrm>
            <a:off x="469265" y="5129001"/>
            <a:ext cx="898119" cy="1241320"/>
          </a:xfrm>
          <a:custGeom>
            <a:avLst/>
            <a:gdLst>
              <a:gd name="T0" fmla="*/ 3353 w 5127"/>
              <a:gd name="T1" fmla="*/ 1728 h 5401"/>
              <a:gd name="T2" fmla="*/ 2183 w 5127"/>
              <a:gd name="T3" fmla="*/ 1608 h 5401"/>
              <a:gd name="T4" fmla="*/ 3353 w 5127"/>
              <a:gd name="T5" fmla="*/ 1488 h 5401"/>
              <a:gd name="T6" fmla="*/ 3103 w 5127"/>
              <a:gd name="T7" fmla="*/ 2231 h 5401"/>
              <a:gd name="T8" fmla="*/ 3103 w 5127"/>
              <a:gd name="T9" fmla="*/ 1991 h 5401"/>
              <a:gd name="T10" fmla="*/ 2432 w 5127"/>
              <a:gd name="T11" fmla="*/ 2111 h 5401"/>
              <a:gd name="T12" fmla="*/ 3103 w 5127"/>
              <a:gd name="T13" fmla="*/ 2231 h 5401"/>
              <a:gd name="T14" fmla="*/ 3353 w 5127"/>
              <a:gd name="T15" fmla="*/ 2648 h 5401"/>
              <a:gd name="T16" fmla="*/ 2183 w 5127"/>
              <a:gd name="T17" fmla="*/ 2768 h 5401"/>
              <a:gd name="T18" fmla="*/ 3353 w 5127"/>
              <a:gd name="T19" fmla="*/ 2888 h 5401"/>
              <a:gd name="T20" fmla="*/ 2552 w 5127"/>
              <a:gd name="T21" fmla="*/ 3151 h 5401"/>
              <a:gd name="T22" fmla="*/ 2552 w 5127"/>
              <a:gd name="T23" fmla="*/ 3391 h 5401"/>
              <a:gd name="T24" fmla="*/ 3223 w 5127"/>
              <a:gd name="T25" fmla="*/ 3271 h 5401"/>
              <a:gd name="T26" fmla="*/ 2552 w 5127"/>
              <a:gd name="T27" fmla="*/ 3151 h 5401"/>
              <a:gd name="T28" fmla="*/ 4448 w 5127"/>
              <a:gd name="T29" fmla="*/ 1442 h 5401"/>
              <a:gd name="T30" fmla="*/ 4688 w 5127"/>
              <a:gd name="T31" fmla="*/ 1442 h 5401"/>
              <a:gd name="T32" fmla="*/ 3988 w 5127"/>
              <a:gd name="T33" fmla="*/ 0 h 5401"/>
              <a:gd name="T34" fmla="*/ 0 w 5127"/>
              <a:gd name="T35" fmla="*/ 604 h 5401"/>
              <a:gd name="T36" fmla="*/ 120 w 5127"/>
              <a:gd name="T37" fmla="*/ 1792 h 5401"/>
              <a:gd name="T38" fmla="*/ 686 w 5127"/>
              <a:gd name="T39" fmla="*/ 1672 h 5401"/>
              <a:gd name="T40" fmla="*/ 240 w 5127"/>
              <a:gd name="T41" fmla="*/ 1552 h 5401"/>
              <a:gd name="T42" fmla="*/ 604 w 5127"/>
              <a:gd name="T43" fmla="*/ 240 h 5401"/>
              <a:gd name="T44" fmla="*/ 968 w 5127"/>
              <a:gd name="T45" fmla="*/ 4179 h 5401"/>
              <a:gd name="T46" fmla="*/ 3904 w 5127"/>
              <a:gd name="T47" fmla="*/ 4879 h 5401"/>
              <a:gd name="T48" fmla="*/ 3904 w 5127"/>
              <a:gd name="T49" fmla="*/ 4639 h 5401"/>
              <a:gd name="T50" fmla="*/ 1208 w 5127"/>
              <a:gd name="T51" fmla="*/ 4179 h 5401"/>
              <a:gd name="T52" fmla="*/ 1086 w 5127"/>
              <a:gd name="T53" fmla="*/ 240 h 5401"/>
              <a:gd name="T54" fmla="*/ 4448 w 5127"/>
              <a:gd name="T55" fmla="*/ 700 h 5401"/>
              <a:gd name="T56" fmla="*/ 4568 w 5127"/>
              <a:gd name="T57" fmla="*/ 2000 h 5401"/>
              <a:gd name="T58" fmla="*/ 4568 w 5127"/>
              <a:gd name="T59" fmla="*/ 2240 h 5401"/>
              <a:gd name="T60" fmla="*/ 4887 w 5127"/>
              <a:gd name="T61" fmla="*/ 2340 h 5401"/>
              <a:gd name="T62" fmla="*/ 5007 w 5127"/>
              <a:gd name="T63" fmla="*/ 3838 h 5401"/>
              <a:gd name="T64" fmla="*/ 5127 w 5127"/>
              <a:gd name="T65" fmla="*/ 2340 h 5401"/>
              <a:gd name="T66" fmla="*/ 4568 w 5127"/>
              <a:gd name="T67" fmla="*/ 5139 h 5401"/>
              <a:gd name="T68" fmla="*/ 4448 w 5127"/>
              <a:gd name="T69" fmla="*/ 5281 h 5401"/>
              <a:gd name="T70" fmla="*/ 4688 w 5127"/>
              <a:gd name="T71" fmla="*/ 5281 h 5401"/>
              <a:gd name="T72" fmla="*/ 4568 w 5127"/>
              <a:gd name="T73" fmla="*/ 5139 h 5401"/>
              <a:gd name="T74" fmla="*/ 4448 w 5127"/>
              <a:gd name="T75" fmla="*/ 2559 h 5401"/>
              <a:gd name="T76" fmla="*/ 4568 w 5127"/>
              <a:gd name="T77" fmla="*/ 4974 h 5401"/>
              <a:gd name="T78" fmla="*/ 4688 w 5127"/>
              <a:gd name="T79" fmla="*/ 2559 h 54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5127" h="5401">
                <a:moveTo>
                  <a:pt x="3473" y="1608"/>
                </a:moveTo>
                <a:cubicBezTo>
                  <a:pt x="3473" y="1674"/>
                  <a:pt x="3419" y="1728"/>
                  <a:pt x="3353" y="1728"/>
                </a:cubicBezTo>
                <a:lnTo>
                  <a:pt x="2303" y="1728"/>
                </a:lnTo>
                <a:cubicBezTo>
                  <a:pt x="2236" y="1728"/>
                  <a:pt x="2183" y="1674"/>
                  <a:pt x="2183" y="1608"/>
                </a:cubicBezTo>
                <a:cubicBezTo>
                  <a:pt x="2183" y="1542"/>
                  <a:pt x="2236" y="1488"/>
                  <a:pt x="2303" y="1488"/>
                </a:cubicBezTo>
                <a:lnTo>
                  <a:pt x="3353" y="1488"/>
                </a:lnTo>
                <a:cubicBezTo>
                  <a:pt x="3419" y="1488"/>
                  <a:pt x="3473" y="1542"/>
                  <a:pt x="3473" y="1608"/>
                </a:cubicBezTo>
                <a:close/>
                <a:moveTo>
                  <a:pt x="3103" y="2231"/>
                </a:moveTo>
                <a:cubicBezTo>
                  <a:pt x="3170" y="2231"/>
                  <a:pt x="3223" y="2178"/>
                  <a:pt x="3223" y="2111"/>
                </a:cubicBezTo>
                <a:cubicBezTo>
                  <a:pt x="3223" y="2045"/>
                  <a:pt x="3170" y="1991"/>
                  <a:pt x="3103" y="1991"/>
                </a:cubicBezTo>
                <a:lnTo>
                  <a:pt x="2552" y="1991"/>
                </a:lnTo>
                <a:cubicBezTo>
                  <a:pt x="2486" y="1991"/>
                  <a:pt x="2432" y="2045"/>
                  <a:pt x="2432" y="2111"/>
                </a:cubicBezTo>
                <a:cubicBezTo>
                  <a:pt x="2432" y="2178"/>
                  <a:pt x="2486" y="2231"/>
                  <a:pt x="2552" y="2231"/>
                </a:cubicBezTo>
                <a:lnTo>
                  <a:pt x="3103" y="2231"/>
                </a:lnTo>
                <a:close/>
                <a:moveTo>
                  <a:pt x="3473" y="2768"/>
                </a:moveTo>
                <a:cubicBezTo>
                  <a:pt x="3473" y="2701"/>
                  <a:pt x="3419" y="2648"/>
                  <a:pt x="3353" y="2648"/>
                </a:cubicBezTo>
                <a:lnTo>
                  <a:pt x="2303" y="2648"/>
                </a:lnTo>
                <a:cubicBezTo>
                  <a:pt x="2236" y="2648"/>
                  <a:pt x="2183" y="2701"/>
                  <a:pt x="2183" y="2768"/>
                </a:cubicBezTo>
                <a:cubicBezTo>
                  <a:pt x="2183" y="2834"/>
                  <a:pt x="2236" y="2888"/>
                  <a:pt x="2303" y="2888"/>
                </a:cubicBezTo>
                <a:lnTo>
                  <a:pt x="3353" y="2888"/>
                </a:lnTo>
                <a:cubicBezTo>
                  <a:pt x="3419" y="2888"/>
                  <a:pt x="3473" y="2834"/>
                  <a:pt x="3473" y="2768"/>
                </a:cubicBezTo>
                <a:close/>
                <a:moveTo>
                  <a:pt x="2552" y="3151"/>
                </a:moveTo>
                <a:cubicBezTo>
                  <a:pt x="2486" y="3151"/>
                  <a:pt x="2432" y="3205"/>
                  <a:pt x="2432" y="3271"/>
                </a:cubicBezTo>
                <a:cubicBezTo>
                  <a:pt x="2432" y="3338"/>
                  <a:pt x="2486" y="3391"/>
                  <a:pt x="2552" y="3391"/>
                </a:cubicBezTo>
                <a:lnTo>
                  <a:pt x="3103" y="3391"/>
                </a:lnTo>
                <a:cubicBezTo>
                  <a:pt x="3170" y="3391"/>
                  <a:pt x="3223" y="3338"/>
                  <a:pt x="3223" y="3271"/>
                </a:cubicBezTo>
                <a:cubicBezTo>
                  <a:pt x="3223" y="3205"/>
                  <a:pt x="3170" y="3151"/>
                  <a:pt x="3103" y="3151"/>
                </a:cubicBezTo>
                <a:lnTo>
                  <a:pt x="2552" y="3151"/>
                </a:lnTo>
                <a:close/>
                <a:moveTo>
                  <a:pt x="4448" y="700"/>
                </a:moveTo>
                <a:lnTo>
                  <a:pt x="4448" y="1442"/>
                </a:lnTo>
                <a:cubicBezTo>
                  <a:pt x="4448" y="1509"/>
                  <a:pt x="4501" y="1562"/>
                  <a:pt x="4568" y="1562"/>
                </a:cubicBezTo>
                <a:cubicBezTo>
                  <a:pt x="4634" y="1562"/>
                  <a:pt x="4688" y="1509"/>
                  <a:pt x="4688" y="1442"/>
                </a:cubicBezTo>
                <a:lnTo>
                  <a:pt x="4688" y="700"/>
                </a:lnTo>
                <a:cubicBezTo>
                  <a:pt x="4688" y="314"/>
                  <a:pt x="4374" y="0"/>
                  <a:pt x="3988" y="0"/>
                </a:cubicBezTo>
                <a:lnTo>
                  <a:pt x="604" y="0"/>
                </a:lnTo>
                <a:cubicBezTo>
                  <a:pt x="271" y="0"/>
                  <a:pt x="0" y="271"/>
                  <a:pt x="0" y="604"/>
                </a:cubicBezTo>
                <a:lnTo>
                  <a:pt x="0" y="1672"/>
                </a:lnTo>
                <a:cubicBezTo>
                  <a:pt x="0" y="1738"/>
                  <a:pt x="53" y="1792"/>
                  <a:pt x="120" y="1792"/>
                </a:cubicBezTo>
                <a:lnTo>
                  <a:pt x="566" y="1792"/>
                </a:lnTo>
                <a:cubicBezTo>
                  <a:pt x="632" y="1792"/>
                  <a:pt x="686" y="1738"/>
                  <a:pt x="686" y="1672"/>
                </a:cubicBezTo>
                <a:cubicBezTo>
                  <a:pt x="686" y="1606"/>
                  <a:pt x="632" y="1552"/>
                  <a:pt x="566" y="1552"/>
                </a:cubicBezTo>
                <a:lnTo>
                  <a:pt x="240" y="1552"/>
                </a:lnTo>
                <a:lnTo>
                  <a:pt x="240" y="604"/>
                </a:lnTo>
                <a:cubicBezTo>
                  <a:pt x="240" y="403"/>
                  <a:pt x="403" y="240"/>
                  <a:pt x="604" y="240"/>
                </a:cubicBezTo>
                <a:cubicBezTo>
                  <a:pt x="805" y="240"/>
                  <a:pt x="968" y="403"/>
                  <a:pt x="968" y="604"/>
                </a:cubicBezTo>
                <a:lnTo>
                  <a:pt x="968" y="4179"/>
                </a:lnTo>
                <a:cubicBezTo>
                  <a:pt x="968" y="4565"/>
                  <a:pt x="1282" y="4879"/>
                  <a:pt x="1668" y="4879"/>
                </a:cubicBezTo>
                <a:lnTo>
                  <a:pt x="3904" y="4879"/>
                </a:lnTo>
                <a:cubicBezTo>
                  <a:pt x="3970" y="4879"/>
                  <a:pt x="4024" y="4825"/>
                  <a:pt x="4024" y="4759"/>
                </a:cubicBezTo>
                <a:cubicBezTo>
                  <a:pt x="4024" y="4693"/>
                  <a:pt x="3970" y="4639"/>
                  <a:pt x="3904" y="4639"/>
                </a:cubicBezTo>
                <a:lnTo>
                  <a:pt x="1668" y="4639"/>
                </a:lnTo>
                <a:cubicBezTo>
                  <a:pt x="1415" y="4639"/>
                  <a:pt x="1208" y="4433"/>
                  <a:pt x="1208" y="4179"/>
                </a:cubicBezTo>
                <a:lnTo>
                  <a:pt x="1208" y="604"/>
                </a:lnTo>
                <a:cubicBezTo>
                  <a:pt x="1208" y="468"/>
                  <a:pt x="1163" y="341"/>
                  <a:pt x="1086" y="240"/>
                </a:cubicBezTo>
                <a:lnTo>
                  <a:pt x="3988" y="240"/>
                </a:lnTo>
                <a:cubicBezTo>
                  <a:pt x="4241" y="240"/>
                  <a:pt x="4448" y="446"/>
                  <a:pt x="4448" y="700"/>
                </a:cubicBezTo>
                <a:close/>
                <a:moveTo>
                  <a:pt x="4787" y="2000"/>
                </a:moveTo>
                <a:lnTo>
                  <a:pt x="4568" y="2000"/>
                </a:lnTo>
                <a:cubicBezTo>
                  <a:pt x="4501" y="2000"/>
                  <a:pt x="4448" y="2054"/>
                  <a:pt x="4448" y="2120"/>
                </a:cubicBezTo>
                <a:cubicBezTo>
                  <a:pt x="4448" y="2187"/>
                  <a:pt x="4501" y="2240"/>
                  <a:pt x="4568" y="2240"/>
                </a:cubicBezTo>
                <a:lnTo>
                  <a:pt x="4787" y="2240"/>
                </a:lnTo>
                <a:cubicBezTo>
                  <a:pt x="4842" y="2240"/>
                  <a:pt x="4887" y="2285"/>
                  <a:pt x="4887" y="2340"/>
                </a:cubicBezTo>
                <a:lnTo>
                  <a:pt x="4887" y="3718"/>
                </a:lnTo>
                <a:cubicBezTo>
                  <a:pt x="4887" y="3785"/>
                  <a:pt x="4941" y="3838"/>
                  <a:pt x="5007" y="3838"/>
                </a:cubicBezTo>
                <a:cubicBezTo>
                  <a:pt x="5073" y="3838"/>
                  <a:pt x="5127" y="3785"/>
                  <a:pt x="5127" y="3718"/>
                </a:cubicBezTo>
                <a:lnTo>
                  <a:pt x="5127" y="2340"/>
                </a:lnTo>
                <a:cubicBezTo>
                  <a:pt x="5127" y="2153"/>
                  <a:pt x="4975" y="2000"/>
                  <a:pt x="4787" y="2000"/>
                </a:cubicBezTo>
                <a:close/>
                <a:moveTo>
                  <a:pt x="4568" y="5139"/>
                </a:moveTo>
                <a:cubicBezTo>
                  <a:pt x="4501" y="5139"/>
                  <a:pt x="4448" y="5193"/>
                  <a:pt x="4448" y="5259"/>
                </a:cubicBezTo>
                <a:lnTo>
                  <a:pt x="4448" y="5281"/>
                </a:lnTo>
                <a:cubicBezTo>
                  <a:pt x="4448" y="5347"/>
                  <a:pt x="4501" y="5401"/>
                  <a:pt x="4568" y="5401"/>
                </a:cubicBezTo>
                <a:cubicBezTo>
                  <a:pt x="4634" y="5401"/>
                  <a:pt x="4688" y="5347"/>
                  <a:pt x="4688" y="5281"/>
                </a:cubicBezTo>
                <a:lnTo>
                  <a:pt x="4688" y="5259"/>
                </a:lnTo>
                <a:cubicBezTo>
                  <a:pt x="4688" y="5193"/>
                  <a:pt x="4634" y="5139"/>
                  <a:pt x="4568" y="5139"/>
                </a:cubicBezTo>
                <a:close/>
                <a:moveTo>
                  <a:pt x="4568" y="2439"/>
                </a:moveTo>
                <a:cubicBezTo>
                  <a:pt x="4501" y="2439"/>
                  <a:pt x="4448" y="2492"/>
                  <a:pt x="4448" y="2559"/>
                </a:cubicBezTo>
                <a:lnTo>
                  <a:pt x="4448" y="4854"/>
                </a:lnTo>
                <a:cubicBezTo>
                  <a:pt x="4448" y="4920"/>
                  <a:pt x="4501" y="4974"/>
                  <a:pt x="4568" y="4974"/>
                </a:cubicBezTo>
                <a:cubicBezTo>
                  <a:pt x="4634" y="4974"/>
                  <a:pt x="4688" y="4920"/>
                  <a:pt x="4688" y="4854"/>
                </a:cubicBezTo>
                <a:lnTo>
                  <a:pt x="4688" y="2559"/>
                </a:lnTo>
                <a:cubicBezTo>
                  <a:pt x="4688" y="2492"/>
                  <a:pt x="4634" y="2439"/>
                  <a:pt x="4568" y="2439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txBody>
          <a:bodyPr/>
          <a:p>
            <a:endParaRPr lang="zh-CN" altLang="en-US" sz="1350">
              <a:cs typeface="+mn-ea"/>
              <a:sym typeface="+mn-lt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630555" y="1323975"/>
            <a:ext cx="736600" cy="2301240"/>
          </a:xfrm>
          <a:prstGeom prst="rect">
            <a:avLst/>
          </a:prstGeom>
          <a:noFill/>
        </p:spPr>
        <p:txBody>
          <a:bodyPr vert="eaVert" wrap="none" rtlCol="0">
            <a:spAutoFit/>
          </a:bodyPr>
          <a:p>
            <a:pPr algn="l"/>
            <a:r>
              <a:rPr lang="zh-CN" altLang="en-US" sz="3600"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sym typeface="+mn-ea"/>
              </a:rPr>
              <a:t>总 结 归 纳</a:t>
            </a:r>
            <a:endParaRPr lang="zh-CN" altLang="en-US" sz="3600"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sym typeface="+mn-ea"/>
            </a:endParaRPr>
          </a:p>
        </p:txBody>
      </p:sp>
      <p:sp>
        <p:nvSpPr>
          <p:cNvPr id="20" name="立方体 19"/>
          <p:cNvSpPr/>
          <p:nvPr>
            <p:custDataLst>
              <p:tags r:id="rId2"/>
            </p:custDataLst>
          </p:nvPr>
        </p:nvSpPr>
        <p:spPr>
          <a:xfrm>
            <a:off x="1988153" y="1983161"/>
            <a:ext cx="1471067" cy="3526696"/>
          </a:xfrm>
          <a:prstGeom prst="cube">
            <a:avLst>
              <a:gd name="adj" fmla="val 88345"/>
            </a:avLst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  <a:effectLst/>
        </p:spPr>
        <p:style>
          <a:lnRef idx="2">
            <a:srgbClr val="1F74AD">
              <a:shade val="50000"/>
            </a:srgbClr>
          </a:lnRef>
          <a:fillRef idx="1">
            <a:srgbClr val="1F74AD"/>
          </a:fillRef>
          <a:effectRef idx="0">
            <a:srgbClr val="1F74AD"/>
          </a:effectRef>
          <a:fontRef idx="minor">
            <a:sysClr val="window" lastClr="FFFFFF"/>
          </a:fontRef>
        </p:style>
        <p:txBody>
          <a:bodyPr anchor="ctr"/>
          <a:p>
            <a:pPr algn="ctr">
              <a:lnSpc>
                <a:spcPct val="120000"/>
              </a:lnSpc>
            </a:pPr>
            <a:endParaRPr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grpSp>
        <p:nvGrpSpPr>
          <p:cNvPr id="21" name="组合 20"/>
          <p:cNvGrpSpPr/>
          <p:nvPr/>
        </p:nvGrpSpPr>
        <p:grpSpPr>
          <a:xfrm>
            <a:off x="4238625" y="1379220"/>
            <a:ext cx="5832213" cy="416627"/>
            <a:chOff x="8624" y="2158"/>
            <a:chExt cx="9185" cy="656"/>
          </a:xfrm>
        </p:grpSpPr>
        <p:sp>
          <p:nvSpPr>
            <p:cNvPr id="5" name="椭圆 4"/>
            <p:cNvSpPr/>
            <p:nvPr>
              <p:custDataLst>
                <p:tags r:id="rId3"/>
              </p:custDataLst>
            </p:nvPr>
          </p:nvSpPr>
          <p:spPr bwMode="auto">
            <a:xfrm flipH="1">
              <a:off x="8624" y="2355"/>
              <a:ext cx="262" cy="262"/>
            </a:xfrm>
            <a:prstGeom prst="ellipse">
              <a:avLst/>
            </a:prstGeom>
            <a:solidFill>
              <a:schemeClr val="accent2">
                <a:lumMod val="20000"/>
                <a:lumOff val="80000"/>
              </a:schemeClr>
            </a:solidFill>
            <a:ln w="9525">
              <a:noFill/>
              <a:round/>
            </a:ln>
          </p:spPr>
          <p:txBody>
            <a:bodyPr anchor="ctr"/>
            <a:p>
              <a:pPr algn="ctr">
                <a:lnSpc>
                  <a:spcPct val="120000"/>
                </a:lnSpc>
              </a:pPr>
              <a:endParaRPr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endParaRPr>
            </a:p>
          </p:txBody>
        </p:sp>
        <p:sp>
          <p:nvSpPr>
            <p:cNvPr id="18" name="文本框 17"/>
            <p:cNvSpPr txBox="1"/>
            <p:nvPr>
              <p:custDataLst>
                <p:tags r:id="rId4"/>
              </p:custDataLst>
            </p:nvPr>
          </p:nvSpPr>
          <p:spPr bwMode="auto">
            <a:xfrm>
              <a:off x="9063" y="2158"/>
              <a:ext cx="8746" cy="656"/>
            </a:xfrm>
            <a:prstGeom prst="rect">
              <a:avLst/>
            </a:prstGeom>
            <a:noFill/>
          </p:spPr>
          <p:txBody>
            <a:bodyPr wrap="square" lIns="90000" tIns="46800" rIns="90000" bIns="0" anchor="b" anchorCtr="0"/>
            <a:p>
              <a:pPr>
                <a:lnSpc>
                  <a:spcPct val="130000"/>
                </a:lnSpc>
              </a:pPr>
              <a:r>
                <a:rPr lang="zh-CN" altLang="en-US" sz="2400" b="1" spc="300">
                  <a:ln>
                    <a:solidFill>
                      <a:schemeClr val="accent2">
                        <a:lumMod val="20000"/>
                        <a:lumOff val="80000"/>
                      </a:schemeClr>
                    </a:solidFill>
                  </a:ln>
                  <a:solidFill>
                    <a:schemeClr val="accent3">
                      <a:lumMod val="95000"/>
                      <a:lumOff val="5000"/>
                    </a:schemeClr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+mn-ea"/>
                  <a:sym typeface="Arial" panose="020B0604020202020204" pitchFamily="34" charset="0"/>
                </a:rPr>
                <a:t>等价转化</a:t>
              </a:r>
              <a:endParaRPr lang="zh-CN" altLang="en-US" sz="2400" b="1" spc="300">
                <a:ln>
                  <a:solidFill>
                    <a:schemeClr val="accent2">
                      <a:lumMod val="20000"/>
                      <a:lumOff val="80000"/>
                    </a:schemeClr>
                  </a:solidFill>
                </a:ln>
                <a:solidFill>
                  <a:schemeClr val="accent3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+mn-ea"/>
                <a:sym typeface="Arial" panose="020B0604020202020204" pitchFamily="34" charset="0"/>
              </a:endParaRPr>
            </a:p>
          </p:txBody>
        </p:sp>
      </p:grpSp>
      <p:grpSp>
        <p:nvGrpSpPr>
          <p:cNvPr id="22" name="组合 21"/>
          <p:cNvGrpSpPr/>
          <p:nvPr/>
        </p:nvGrpSpPr>
        <p:grpSpPr>
          <a:xfrm>
            <a:off x="4238625" y="2957195"/>
            <a:ext cx="5808345" cy="416560"/>
            <a:chOff x="8886" y="3608"/>
            <a:chExt cx="9147" cy="656"/>
          </a:xfrm>
        </p:grpSpPr>
        <p:sp>
          <p:nvSpPr>
            <p:cNvPr id="10" name="椭圆 9"/>
            <p:cNvSpPr/>
            <p:nvPr>
              <p:custDataLst>
                <p:tags r:id="rId5"/>
              </p:custDataLst>
            </p:nvPr>
          </p:nvSpPr>
          <p:spPr bwMode="auto">
            <a:xfrm flipH="1">
              <a:off x="8886" y="3926"/>
              <a:ext cx="262" cy="262"/>
            </a:xfrm>
            <a:prstGeom prst="ellipse">
              <a:avLst/>
            </a:prstGeom>
            <a:solidFill>
              <a:schemeClr val="accent1">
                <a:lumMod val="40000"/>
                <a:lumOff val="60000"/>
              </a:schemeClr>
            </a:solidFill>
            <a:ln w="9525">
              <a:solidFill>
                <a:schemeClr val="accent1">
                  <a:lumMod val="60000"/>
                  <a:lumOff val="40000"/>
                </a:schemeClr>
              </a:solidFill>
              <a:round/>
            </a:ln>
          </p:spPr>
          <p:txBody>
            <a:bodyPr anchor="ctr"/>
            <a:p>
              <a:pPr algn="ctr">
                <a:lnSpc>
                  <a:spcPct val="120000"/>
                </a:lnSpc>
              </a:pPr>
              <a:endParaRPr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endParaRPr>
            </a:p>
          </p:txBody>
        </p:sp>
        <p:sp>
          <p:nvSpPr>
            <p:cNvPr id="16" name="文本框 15"/>
            <p:cNvSpPr txBox="1"/>
            <p:nvPr>
              <p:custDataLst>
                <p:tags r:id="rId6"/>
              </p:custDataLst>
            </p:nvPr>
          </p:nvSpPr>
          <p:spPr bwMode="auto">
            <a:xfrm>
              <a:off x="9287" y="3608"/>
              <a:ext cx="8746" cy="656"/>
            </a:xfrm>
            <a:prstGeom prst="rect">
              <a:avLst/>
            </a:prstGeom>
            <a:noFill/>
          </p:spPr>
          <p:txBody>
            <a:bodyPr wrap="square" lIns="90000" tIns="46800" rIns="90000" bIns="0" anchor="b" anchorCtr="0"/>
            <a:p>
              <a:pPr>
                <a:lnSpc>
                  <a:spcPct val="130000"/>
                </a:lnSpc>
              </a:pPr>
              <a:r>
                <a:rPr lang="zh-CN" altLang="en-US" sz="2400" b="1" spc="300">
                  <a:ln>
                    <a:solidFill>
                      <a:schemeClr val="accent2">
                        <a:lumMod val="20000"/>
                        <a:lumOff val="80000"/>
                      </a:schemeClr>
                    </a:solidFill>
                  </a:ln>
                  <a:solidFill>
                    <a:schemeClr val="accent3">
                      <a:lumMod val="95000"/>
                      <a:lumOff val="5000"/>
                    </a:schemeClr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+mn-ea"/>
                  <a:sym typeface="Arial" panose="020B0604020202020204" pitchFamily="34" charset="0"/>
                </a:rPr>
                <a:t>画图</a:t>
              </a:r>
              <a:endParaRPr lang="zh-CN" altLang="en-US" sz="2400" b="1" spc="300">
                <a:ln>
                  <a:solidFill>
                    <a:schemeClr val="accent2">
                      <a:lumMod val="20000"/>
                      <a:lumOff val="80000"/>
                    </a:schemeClr>
                  </a:solidFill>
                </a:ln>
                <a:solidFill>
                  <a:schemeClr val="accent3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+mn-ea"/>
                <a:sym typeface="Arial" panose="020B0604020202020204" pitchFamily="34" charset="0"/>
              </a:endParaRPr>
            </a:p>
          </p:txBody>
        </p:sp>
      </p:grpSp>
      <p:sp>
        <p:nvSpPr>
          <p:cNvPr id="17" name="文本框 16"/>
          <p:cNvSpPr txBox="1"/>
          <p:nvPr>
            <p:custDataLst>
              <p:tags r:id="rId7"/>
            </p:custDataLst>
          </p:nvPr>
        </p:nvSpPr>
        <p:spPr bwMode="auto">
          <a:xfrm>
            <a:off x="4932680" y="3500120"/>
            <a:ext cx="6506210" cy="416560"/>
          </a:xfrm>
          <a:prstGeom prst="rect">
            <a:avLst/>
          </a:prstGeom>
          <a:noFill/>
        </p:spPr>
        <p:txBody>
          <a:bodyPr wrap="square" lIns="90000" tIns="0" rIns="90000" bIns="46800">
            <a:noAutofit/>
          </a:bodyPr>
          <a:p>
            <a:pPr>
              <a:lnSpc>
                <a:spcPct val="120000"/>
              </a:lnSpc>
            </a:pPr>
            <a:r>
              <a:rPr lang="zh-CN" altLang="en-US" sz="2400" b="1" spc="150">
                <a:latin typeface="宋体" panose="02010600030101010101" pitchFamily="2" charset="-122"/>
                <a:ea typeface="宋体" panose="02010600030101010101" pitchFamily="2" charset="-122"/>
                <a:sym typeface="Arial" panose="020B0604020202020204" pitchFamily="34" charset="0"/>
              </a:rPr>
              <a:t>画出两个函数图象</a:t>
            </a:r>
            <a:endParaRPr lang="zh-CN" altLang="en-US" sz="2400" b="1" spc="150">
              <a:latin typeface="宋体" panose="02010600030101010101" pitchFamily="2" charset="-122"/>
              <a:ea typeface="宋体" panose="02010600030101010101" pitchFamily="2" charset="-122"/>
              <a:sym typeface="Arial" panose="020B0604020202020204" pitchFamily="34" charset="0"/>
            </a:endParaRPr>
          </a:p>
        </p:txBody>
      </p:sp>
      <p:grpSp>
        <p:nvGrpSpPr>
          <p:cNvPr id="23" name="组合 22"/>
          <p:cNvGrpSpPr/>
          <p:nvPr/>
        </p:nvGrpSpPr>
        <p:grpSpPr>
          <a:xfrm>
            <a:off x="4262755" y="3985895"/>
            <a:ext cx="5808345" cy="416560"/>
            <a:chOff x="8886" y="5058"/>
            <a:chExt cx="9147" cy="656"/>
          </a:xfrm>
        </p:grpSpPr>
        <p:sp>
          <p:nvSpPr>
            <p:cNvPr id="13" name="椭圆 12"/>
            <p:cNvSpPr/>
            <p:nvPr>
              <p:custDataLst>
                <p:tags r:id="rId8"/>
              </p:custDataLst>
            </p:nvPr>
          </p:nvSpPr>
          <p:spPr bwMode="auto">
            <a:xfrm flipH="1">
              <a:off x="8886" y="5255"/>
              <a:ext cx="262" cy="262"/>
            </a:xfrm>
            <a:prstGeom prst="ellipse">
              <a:avLst/>
            </a:prstGeom>
            <a:solidFill>
              <a:schemeClr val="accent2">
                <a:lumMod val="75000"/>
              </a:schemeClr>
            </a:solidFill>
            <a:ln w="9525">
              <a:solidFill>
                <a:schemeClr val="accent2">
                  <a:lumMod val="75000"/>
                </a:schemeClr>
              </a:solidFill>
              <a:round/>
            </a:ln>
          </p:spPr>
          <p:txBody>
            <a:bodyPr anchor="ctr"/>
            <a:p>
              <a:pPr algn="ctr">
                <a:lnSpc>
                  <a:spcPct val="120000"/>
                </a:lnSpc>
              </a:pPr>
              <a:endParaRPr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endParaRPr>
            </a:p>
          </p:txBody>
        </p:sp>
        <p:sp>
          <p:nvSpPr>
            <p:cNvPr id="14" name="文本框 13"/>
            <p:cNvSpPr txBox="1"/>
            <p:nvPr>
              <p:custDataLst>
                <p:tags r:id="rId9"/>
              </p:custDataLst>
            </p:nvPr>
          </p:nvSpPr>
          <p:spPr bwMode="auto">
            <a:xfrm>
              <a:off x="9287" y="5058"/>
              <a:ext cx="8746" cy="656"/>
            </a:xfrm>
            <a:prstGeom prst="rect">
              <a:avLst/>
            </a:prstGeom>
            <a:noFill/>
          </p:spPr>
          <p:txBody>
            <a:bodyPr wrap="square" lIns="90000" tIns="46800" rIns="90000" bIns="0" anchor="b" anchorCtr="0"/>
            <a:p>
              <a:pPr>
                <a:lnSpc>
                  <a:spcPct val="130000"/>
                </a:lnSpc>
              </a:pPr>
              <a:r>
                <a:rPr lang="zh-CN" altLang="en-US" sz="2400" b="1" spc="300">
                  <a:ln>
                    <a:solidFill>
                      <a:schemeClr val="accent2">
                        <a:lumMod val="20000"/>
                        <a:lumOff val="80000"/>
                      </a:schemeClr>
                    </a:solidFill>
                  </a:ln>
                  <a:solidFill>
                    <a:schemeClr val="accent3">
                      <a:lumMod val="95000"/>
                      <a:lumOff val="5000"/>
                    </a:schemeClr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+mn-ea"/>
                  <a:sym typeface="Arial" panose="020B0604020202020204" pitchFamily="34" charset="0"/>
                </a:rPr>
                <a:t>求解</a:t>
              </a:r>
              <a:endParaRPr lang="zh-CN" altLang="en-US" sz="2400" b="1" spc="300">
                <a:ln>
                  <a:solidFill>
                    <a:schemeClr val="accent2">
                      <a:lumMod val="20000"/>
                      <a:lumOff val="80000"/>
                    </a:schemeClr>
                  </a:solidFill>
                </a:ln>
                <a:solidFill>
                  <a:schemeClr val="accent3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+mn-ea"/>
                <a:sym typeface="Arial" panose="020B0604020202020204" pitchFamily="34" charset="0"/>
              </a:endParaRPr>
            </a:p>
          </p:txBody>
        </p:sp>
      </p:grpSp>
      <p:sp>
        <p:nvSpPr>
          <p:cNvPr id="15" name="文本框 14"/>
          <p:cNvSpPr txBox="1"/>
          <p:nvPr>
            <p:custDataLst>
              <p:tags r:id="rId10"/>
            </p:custDataLst>
          </p:nvPr>
        </p:nvSpPr>
        <p:spPr bwMode="auto">
          <a:xfrm>
            <a:off x="4921250" y="4473575"/>
            <a:ext cx="6756400" cy="906780"/>
          </a:xfrm>
          <a:prstGeom prst="rect">
            <a:avLst/>
          </a:prstGeom>
          <a:noFill/>
        </p:spPr>
        <p:txBody>
          <a:bodyPr wrap="square" lIns="90000" tIns="0" rIns="90000" bIns="46800">
            <a:noAutofit/>
          </a:bodyPr>
          <a:p>
            <a:pPr>
              <a:lnSpc>
                <a:spcPct val="120000"/>
              </a:lnSpc>
            </a:pPr>
            <a:r>
              <a:rPr lang="zh-CN" altLang="en-US" sz="2400" b="1" spc="150">
                <a:latin typeface="宋体" panose="02010600030101010101" pitchFamily="2" charset="-122"/>
                <a:ea typeface="宋体" panose="02010600030101010101" pitchFamily="2" charset="-122"/>
                <a:sym typeface="Arial" panose="020B0604020202020204" pitchFamily="34" charset="0"/>
              </a:rPr>
              <a:t>利用图象，观察交点个数，即为所求零点个数</a:t>
            </a:r>
            <a:endParaRPr lang="zh-CN" altLang="en-US" sz="2400" b="1" spc="150">
              <a:latin typeface="宋体" panose="02010600030101010101" pitchFamily="2" charset="-122"/>
              <a:ea typeface="宋体" panose="02010600030101010101" pitchFamily="2" charset="-122"/>
              <a:sym typeface="Arial" panose="020B0604020202020204" pitchFamily="34" charset="0"/>
            </a:endParaRPr>
          </a:p>
        </p:txBody>
      </p:sp>
      <p:sp>
        <p:nvSpPr>
          <p:cNvPr id="35" name="立方体 34"/>
          <p:cNvSpPr/>
          <p:nvPr>
            <p:custDataLst>
              <p:tags r:id="rId11"/>
            </p:custDataLst>
          </p:nvPr>
        </p:nvSpPr>
        <p:spPr>
          <a:xfrm>
            <a:off x="2356549" y="2334471"/>
            <a:ext cx="1324389" cy="3175386"/>
          </a:xfrm>
          <a:prstGeom prst="cube">
            <a:avLst>
              <a:gd name="adj" fmla="val 85731"/>
            </a:avLst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accent2">
                <a:lumMod val="40000"/>
                <a:lumOff val="60000"/>
              </a:schemeClr>
            </a:solidFill>
          </a:ln>
          <a:effectLst/>
        </p:spPr>
        <p:style>
          <a:lnRef idx="2">
            <a:srgbClr val="1F74AD">
              <a:shade val="50000"/>
            </a:srgbClr>
          </a:lnRef>
          <a:fillRef idx="1">
            <a:srgbClr val="1F74AD"/>
          </a:fillRef>
          <a:effectRef idx="0">
            <a:srgbClr val="1F74AD"/>
          </a:effectRef>
          <a:fontRef idx="minor">
            <a:sysClr val="window" lastClr="FFFFFF"/>
          </a:fontRef>
        </p:style>
        <p:txBody>
          <a:bodyPr anchor="ctr"/>
          <a:p>
            <a:pPr algn="ctr">
              <a:lnSpc>
                <a:spcPct val="120000"/>
              </a:lnSpc>
            </a:pPr>
            <a:endParaRPr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sp>
        <p:nvSpPr>
          <p:cNvPr id="36" name="立方体 35"/>
          <p:cNvSpPr/>
          <p:nvPr>
            <p:custDataLst>
              <p:tags r:id="rId12"/>
            </p:custDataLst>
          </p:nvPr>
        </p:nvSpPr>
        <p:spPr>
          <a:xfrm>
            <a:off x="2779965" y="2878251"/>
            <a:ext cx="1097576" cy="2631606"/>
          </a:xfrm>
          <a:prstGeom prst="cube">
            <a:avLst>
              <a:gd name="adj" fmla="val 85731"/>
            </a:avLst>
          </a:prstGeom>
          <a:solidFill>
            <a:schemeClr val="accent2">
              <a:lumMod val="75000"/>
            </a:schemeClr>
          </a:solidFill>
          <a:ln>
            <a:noFill/>
          </a:ln>
          <a:effectLst/>
        </p:spPr>
        <p:style>
          <a:lnRef idx="2">
            <a:srgbClr val="1F74AD">
              <a:shade val="50000"/>
            </a:srgbClr>
          </a:lnRef>
          <a:fillRef idx="1">
            <a:srgbClr val="1F74AD"/>
          </a:fillRef>
          <a:effectRef idx="0">
            <a:srgbClr val="1F74AD"/>
          </a:effectRef>
          <a:fontRef idx="minor">
            <a:sysClr val="window" lastClr="FFFFFF"/>
          </a:fontRef>
        </p:style>
        <p:txBody>
          <a:bodyPr anchor="ctr"/>
          <a:p>
            <a:pPr algn="ctr">
              <a:lnSpc>
                <a:spcPct val="120000"/>
              </a:lnSpc>
            </a:pPr>
            <a:endParaRPr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grpSp>
        <p:nvGrpSpPr>
          <p:cNvPr id="27" name="组合 26"/>
          <p:cNvGrpSpPr/>
          <p:nvPr/>
        </p:nvGrpSpPr>
        <p:grpSpPr>
          <a:xfrm>
            <a:off x="4932680" y="1922780"/>
            <a:ext cx="6635750" cy="906780"/>
            <a:chOff x="7768" y="3028"/>
            <a:chExt cx="10450" cy="1428"/>
          </a:xfrm>
        </p:grpSpPr>
        <p:sp>
          <p:nvSpPr>
            <p:cNvPr id="19" name="文本框 18"/>
            <p:cNvSpPr txBox="1"/>
            <p:nvPr>
              <p:custDataLst>
                <p:tags r:id="rId13"/>
              </p:custDataLst>
            </p:nvPr>
          </p:nvSpPr>
          <p:spPr bwMode="auto">
            <a:xfrm>
              <a:off x="7768" y="3028"/>
              <a:ext cx="10451" cy="1429"/>
            </a:xfrm>
            <a:prstGeom prst="rect">
              <a:avLst/>
            </a:prstGeom>
            <a:noFill/>
          </p:spPr>
          <p:txBody>
            <a:bodyPr wrap="square" lIns="90000" tIns="0" rIns="90000" bIns="46800">
              <a:noAutofit/>
            </a:bodyPr>
            <a:p>
              <a:pPr>
                <a:lnSpc>
                  <a:spcPct val="120000"/>
                </a:lnSpc>
              </a:pPr>
              <a:r>
                <a:rPr lang="zh-CN" altLang="en-US" sz="2400" b="1" spc="150">
                  <a:latin typeface="宋体" panose="02010600030101010101" pitchFamily="2" charset="-122"/>
                  <a:ea typeface="宋体" panose="02010600030101010101" pitchFamily="2" charset="-122"/>
                  <a:sym typeface="Arial" panose="020B0604020202020204" pitchFamily="34" charset="0"/>
                </a:rPr>
                <a:t>对于求解函数               零点个数问题，转化为          的根的个数问题。</a:t>
              </a:r>
              <a:endParaRPr lang="zh-CN" altLang="en-US" sz="2400" b="1" spc="150">
                <a:latin typeface="宋体" panose="02010600030101010101" pitchFamily="2" charset="-122"/>
                <a:ea typeface="宋体" panose="02010600030101010101" pitchFamily="2" charset="-122"/>
                <a:sym typeface="Arial" panose="020B0604020202020204" pitchFamily="34" charset="0"/>
              </a:endParaRPr>
            </a:p>
          </p:txBody>
        </p:sp>
        <p:graphicFrame>
          <p:nvGraphicFramePr>
            <p:cNvPr id="24" name="对象 23">
              <a:hlinkClick r:id="" action="ppaction://ole?verb="/>
            </p:cNvPr>
            <p:cNvGraphicFramePr>
              <a:graphicFrameLocks noChangeAspect="1"/>
            </p:cNvGraphicFramePr>
            <p:nvPr/>
          </p:nvGraphicFramePr>
          <p:xfrm>
            <a:off x="11049" y="3087"/>
            <a:ext cx="4042" cy="681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1025" name="" r:id="rId14" imgW="1206500" imgH="203200" progId="Equation.KSEE3">
                    <p:embed/>
                  </p:oleObj>
                </mc:Choice>
                <mc:Fallback>
                  <p:oleObj name="" r:id="rId14" imgW="1206500" imgH="203200" progId="Equation.KSEE3">
                    <p:embed/>
                    <p:pic>
                      <p:nvPicPr>
                        <p:cNvPr id="0" name="图片 1024"/>
                        <p:cNvPicPr/>
                        <p:nvPr/>
                      </p:nvPicPr>
                      <p:blipFill>
                        <a:blip r:embed="rId15"/>
                        <a:stretch>
                          <a:fillRect/>
                        </a:stretch>
                      </p:blipFill>
                      <p:spPr>
                        <a:xfrm>
                          <a:off x="11049" y="3087"/>
                          <a:ext cx="4042" cy="681"/>
                        </a:xfrm>
                        <a:prstGeom prst="rect">
                          <a:avLst/>
                        </a:prstGeom>
                      </p:spPr>
                    </p:pic>
                  </p:oleObj>
                </mc:Fallback>
              </mc:AlternateContent>
            </a:graphicData>
          </a:graphic>
        </p:graphicFrame>
        <p:graphicFrame>
          <p:nvGraphicFramePr>
            <p:cNvPr id="25" name="对象 24">
              <a:hlinkClick r:id="" action="ppaction://ole?verb="/>
            </p:cNvPr>
            <p:cNvGraphicFramePr>
              <a:graphicFrameLocks noChangeAspect="1"/>
            </p:cNvGraphicFramePr>
            <p:nvPr/>
          </p:nvGraphicFramePr>
          <p:xfrm>
            <a:off x="10547" y="3768"/>
            <a:ext cx="2578" cy="677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1026" name="" r:id="rId16" imgW="774065" imgH="203200" progId="Equation.KSEE3">
                    <p:embed/>
                  </p:oleObj>
                </mc:Choice>
                <mc:Fallback>
                  <p:oleObj name="" r:id="rId16" imgW="774065" imgH="203200" progId="Equation.KSEE3">
                    <p:embed/>
                    <p:pic>
                      <p:nvPicPr>
                        <p:cNvPr id="0" name="图片 1025"/>
                        <p:cNvPicPr/>
                        <p:nvPr/>
                      </p:nvPicPr>
                      <p:blipFill>
                        <a:blip r:embed="rId17"/>
                        <a:stretch>
                          <a:fillRect/>
                        </a:stretch>
                      </p:blipFill>
                      <p:spPr>
                        <a:xfrm>
                          <a:off x="10547" y="3768"/>
                          <a:ext cx="2578" cy="677"/>
                        </a:xfrm>
                        <a:prstGeom prst="rect">
                          <a:avLst/>
                        </a:prstGeom>
                      </p:spPr>
                    </p:pic>
                  </p:oleObj>
                </mc:Fallback>
              </mc:AlternateContent>
            </a:graphicData>
          </a:graphic>
        </p:graphicFrame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2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20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2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20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2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20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2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2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2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" dur="20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2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2" dur="2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/>
      <p:bldP spid="15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4" name="五边形 3"/>
          <p:cNvSpPr/>
          <p:nvPr/>
        </p:nvSpPr>
        <p:spPr>
          <a:xfrm>
            <a:off x="589915" y="404495"/>
            <a:ext cx="4321175" cy="619125"/>
          </a:xfrm>
          <a:prstGeom prst="homePlat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p>
            <a:r>
              <a:rPr lang="zh-CN">
                <a:sym typeface="+mn-ea"/>
              </a:rPr>
              <a:t>典型例题</a:t>
            </a:r>
            <a:r>
              <a:rPr lang="en-US" altLang="zh-CN">
                <a:sym typeface="+mn-ea"/>
              </a:rPr>
              <a:t>2·</a:t>
            </a:r>
            <a:r>
              <a:rPr lang="en-US" altLang="zh-CN">
                <a:sym typeface="+mn-ea"/>
              </a:rPr>
              <a:t>2018</a:t>
            </a:r>
            <a:r>
              <a:rPr lang="zh-CN" altLang="en-US">
                <a:sym typeface="+mn-ea"/>
              </a:rPr>
              <a:t>全国卷</a:t>
            </a:r>
            <a:r>
              <a:rPr lang="en-US" altLang="zh-CN">
                <a:sym typeface="+mn-ea"/>
              </a:rPr>
              <a:t>Ⅰ</a:t>
            </a:r>
            <a:endParaRPr lang="zh-CN" altLang="en-US"/>
          </a:p>
        </p:txBody>
      </p:sp>
      <p:sp>
        <p:nvSpPr>
          <p:cNvPr id="9" name="three-books_73757"/>
          <p:cNvSpPr>
            <a:spLocks noChangeAspect="1"/>
          </p:cNvSpPr>
          <p:nvPr/>
        </p:nvSpPr>
        <p:spPr bwMode="auto">
          <a:xfrm>
            <a:off x="11582358" y="6383442"/>
            <a:ext cx="609685" cy="474136"/>
          </a:xfrm>
          <a:custGeom>
            <a:avLst/>
            <a:gdLst>
              <a:gd name="T0" fmla="*/ 2471 w 2903"/>
              <a:gd name="T1" fmla="*/ 1598 h 2261"/>
              <a:gd name="T2" fmla="*/ 2471 w 2903"/>
              <a:gd name="T3" fmla="*/ 2127 h 2261"/>
              <a:gd name="T4" fmla="*/ 2505 w 2903"/>
              <a:gd name="T5" fmla="*/ 2127 h 2261"/>
              <a:gd name="T6" fmla="*/ 2572 w 2903"/>
              <a:gd name="T7" fmla="*/ 2194 h 2261"/>
              <a:gd name="T8" fmla="*/ 2505 w 2903"/>
              <a:gd name="T9" fmla="*/ 2261 h 2261"/>
              <a:gd name="T10" fmla="*/ 2405 w 2903"/>
              <a:gd name="T11" fmla="*/ 2261 h 2261"/>
              <a:gd name="T12" fmla="*/ 2124 w 2903"/>
              <a:gd name="T13" fmla="*/ 2261 h 2261"/>
              <a:gd name="T14" fmla="*/ 398 w 2903"/>
              <a:gd name="T15" fmla="*/ 2261 h 2261"/>
              <a:gd name="T16" fmla="*/ 0 w 2903"/>
              <a:gd name="T17" fmla="*/ 1863 h 2261"/>
              <a:gd name="T18" fmla="*/ 398 w 2903"/>
              <a:gd name="T19" fmla="*/ 1465 h 2261"/>
              <a:gd name="T20" fmla="*/ 2124 w 2903"/>
              <a:gd name="T21" fmla="*/ 1465 h 2261"/>
              <a:gd name="T22" fmla="*/ 2405 w 2903"/>
              <a:gd name="T23" fmla="*/ 1465 h 2261"/>
              <a:gd name="T24" fmla="*/ 2505 w 2903"/>
              <a:gd name="T25" fmla="*/ 1465 h 2261"/>
              <a:gd name="T26" fmla="*/ 2572 w 2903"/>
              <a:gd name="T27" fmla="*/ 1532 h 2261"/>
              <a:gd name="T28" fmla="*/ 2505 w 2903"/>
              <a:gd name="T29" fmla="*/ 1598 h 2261"/>
              <a:gd name="T30" fmla="*/ 2471 w 2903"/>
              <a:gd name="T31" fmla="*/ 1598 h 2261"/>
              <a:gd name="T32" fmla="*/ 2836 w 2903"/>
              <a:gd name="T33" fmla="*/ 1195 h 2261"/>
              <a:gd name="T34" fmla="*/ 2786 w 2903"/>
              <a:gd name="T35" fmla="*/ 1195 h 2261"/>
              <a:gd name="T36" fmla="*/ 2786 w 2903"/>
              <a:gd name="T37" fmla="*/ 786 h 2261"/>
              <a:gd name="T38" fmla="*/ 2836 w 2903"/>
              <a:gd name="T39" fmla="*/ 786 h 2261"/>
              <a:gd name="T40" fmla="*/ 2903 w 2903"/>
              <a:gd name="T41" fmla="*/ 720 h 2261"/>
              <a:gd name="T42" fmla="*/ 2836 w 2903"/>
              <a:gd name="T43" fmla="*/ 653 h 2261"/>
              <a:gd name="T44" fmla="*/ 2720 w 2903"/>
              <a:gd name="T45" fmla="*/ 653 h 2261"/>
              <a:gd name="T46" fmla="*/ 2455 w 2903"/>
              <a:gd name="T47" fmla="*/ 653 h 2261"/>
              <a:gd name="T48" fmla="*/ 1005 w 2903"/>
              <a:gd name="T49" fmla="*/ 653 h 2261"/>
              <a:gd name="T50" fmla="*/ 668 w 2903"/>
              <a:gd name="T51" fmla="*/ 991 h 2261"/>
              <a:gd name="T52" fmla="*/ 1005 w 2903"/>
              <a:gd name="T53" fmla="*/ 1328 h 2261"/>
              <a:gd name="T54" fmla="*/ 2455 w 2903"/>
              <a:gd name="T55" fmla="*/ 1328 h 2261"/>
              <a:gd name="T56" fmla="*/ 2720 w 2903"/>
              <a:gd name="T57" fmla="*/ 1328 h 2261"/>
              <a:gd name="T58" fmla="*/ 2836 w 2903"/>
              <a:gd name="T59" fmla="*/ 1328 h 2261"/>
              <a:gd name="T60" fmla="*/ 2903 w 2903"/>
              <a:gd name="T61" fmla="*/ 1262 h 2261"/>
              <a:gd name="T62" fmla="*/ 2836 w 2903"/>
              <a:gd name="T63" fmla="*/ 1195 h 2261"/>
              <a:gd name="T64" fmla="*/ 226 w 2903"/>
              <a:gd name="T65" fmla="*/ 405 h 2261"/>
              <a:gd name="T66" fmla="*/ 159 w 2903"/>
              <a:gd name="T67" fmla="*/ 472 h 2261"/>
              <a:gd name="T68" fmla="*/ 226 w 2903"/>
              <a:gd name="T69" fmla="*/ 539 h 2261"/>
              <a:gd name="T70" fmla="*/ 323 w 2903"/>
              <a:gd name="T71" fmla="*/ 539 h 2261"/>
              <a:gd name="T72" fmla="*/ 671 w 2903"/>
              <a:gd name="T73" fmla="*/ 539 h 2261"/>
              <a:gd name="T74" fmla="*/ 2248 w 2903"/>
              <a:gd name="T75" fmla="*/ 539 h 2261"/>
              <a:gd name="T76" fmla="*/ 2517 w 2903"/>
              <a:gd name="T77" fmla="*/ 269 h 2261"/>
              <a:gd name="T78" fmla="*/ 2248 w 2903"/>
              <a:gd name="T79" fmla="*/ 0 h 2261"/>
              <a:gd name="T80" fmla="*/ 671 w 2903"/>
              <a:gd name="T81" fmla="*/ 0 h 2261"/>
              <a:gd name="T82" fmla="*/ 323 w 2903"/>
              <a:gd name="T83" fmla="*/ 0 h 2261"/>
              <a:gd name="T84" fmla="*/ 226 w 2903"/>
              <a:gd name="T85" fmla="*/ 0 h 2261"/>
              <a:gd name="T86" fmla="*/ 159 w 2903"/>
              <a:gd name="T87" fmla="*/ 66 h 2261"/>
              <a:gd name="T88" fmla="*/ 226 w 2903"/>
              <a:gd name="T89" fmla="*/ 133 h 2261"/>
              <a:gd name="T90" fmla="*/ 257 w 2903"/>
              <a:gd name="T91" fmla="*/ 133 h 2261"/>
              <a:gd name="T92" fmla="*/ 257 w 2903"/>
              <a:gd name="T93" fmla="*/ 405 h 2261"/>
              <a:gd name="T94" fmla="*/ 226 w 2903"/>
              <a:gd name="T95" fmla="*/ 405 h 22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2903" h="2261">
                <a:moveTo>
                  <a:pt x="2471" y="1598"/>
                </a:moveTo>
                <a:lnTo>
                  <a:pt x="2471" y="2127"/>
                </a:lnTo>
                <a:lnTo>
                  <a:pt x="2505" y="2127"/>
                </a:lnTo>
                <a:cubicBezTo>
                  <a:pt x="2542" y="2127"/>
                  <a:pt x="2572" y="2157"/>
                  <a:pt x="2572" y="2194"/>
                </a:cubicBezTo>
                <a:cubicBezTo>
                  <a:pt x="2572" y="2231"/>
                  <a:pt x="2542" y="2261"/>
                  <a:pt x="2505" y="2261"/>
                </a:cubicBezTo>
                <a:lnTo>
                  <a:pt x="2405" y="2261"/>
                </a:lnTo>
                <a:lnTo>
                  <a:pt x="2124" y="2261"/>
                </a:lnTo>
                <a:lnTo>
                  <a:pt x="398" y="2261"/>
                </a:lnTo>
                <a:cubicBezTo>
                  <a:pt x="178" y="2261"/>
                  <a:pt x="0" y="2082"/>
                  <a:pt x="0" y="1863"/>
                </a:cubicBezTo>
                <a:cubicBezTo>
                  <a:pt x="0" y="1643"/>
                  <a:pt x="178" y="1465"/>
                  <a:pt x="398" y="1465"/>
                </a:cubicBezTo>
                <a:lnTo>
                  <a:pt x="2124" y="1465"/>
                </a:lnTo>
                <a:lnTo>
                  <a:pt x="2405" y="1465"/>
                </a:lnTo>
                <a:lnTo>
                  <a:pt x="2505" y="1465"/>
                </a:lnTo>
                <a:cubicBezTo>
                  <a:pt x="2542" y="1465"/>
                  <a:pt x="2572" y="1495"/>
                  <a:pt x="2572" y="1532"/>
                </a:cubicBezTo>
                <a:cubicBezTo>
                  <a:pt x="2572" y="1568"/>
                  <a:pt x="2542" y="1598"/>
                  <a:pt x="2505" y="1598"/>
                </a:cubicBezTo>
                <a:lnTo>
                  <a:pt x="2471" y="1598"/>
                </a:lnTo>
                <a:close/>
                <a:moveTo>
                  <a:pt x="2836" y="1195"/>
                </a:moveTo>
                <a:lnTo>
                  <a:pt x="2786" y="1195"/>
                </a:lnTo>
                <a:lnTo>
                  <a:pt x="2786" y="786"/>
                </a:lnTo>
                <a:lnTo>
                  <a:pt x="2836" y="786"/>
                </a:lnTo>
                <a:cubicBezTo>
                  <a:pt x="2873" y="786"/>
                  <a:pt x="2903" y="757"/>
                  <a:pt x="2903" y="720"/>
                </a:cubicBezTo>
                <a:cubicBezTo>
                  <a:pt x="2903" y="683"/>
                  <a:pt x="2873" y="653"/>
                  <a:pt x="2836" y="653"/>
                </a:cubicBezTo>
                <a:lnTo>
                  <a:pt x="2720" y="653"/>
                </a:lnTo>
                <a:lnTo>
                  <a:pt x="2455" y="653"/>
                </a:lnTo>
                <a:lnTo>
                  <a:pt x="1005" y="653"/>
                </a:lnTo>
                <a:cubicBezTo>
                  <a:pt x="819" y="653"/>
                  <a:pt x="668" y="805"/>
                  <a:pt x="668" y="991"/>
                </a:cubicBezTo>
                <a:cubicBezTo>
                  <a:pt x="668" y="1177"/>
                  <a:pt x="819" y="1328"/>
                  <a:pt x="1005" y="1328"/>
                </a:cubicBezTo>
                <a:lnTo>
                  <a:pt x="2455" y="1328"/>
                </a:lnTo>
                <a:lnTo>
                  <a:pt x="2720" y="1328"/>
                </a:lnTo>
                <a:lnTo>
                  <a:pt x="2836" y="1328"/>
                </a:lnTo>
                <a:cubicBezTo>
                  <a:pt x="2873" y="1328"/>
                  <a:pt x="2903" y="1299"/>
                  <a:pt x="2903" y="1262"/>
                </a:cubicBezTo>
                <a:cubicBezTo>
                  <a:pt x="2903" y="1225"/>
                  <a:pt x="2873" y="1195"/>
                  <a:pt x="2836" y="1195"/>
                </a:cubicBezTo>
                <a:close/>
                <a:moveTo>
                  <a:pt x="226" y="405"/>
                </a:moveTo>
                <a:cubicBezTo>
                  <a:pt x="189" y="405"/>
                  <a:pt x="159" y="435"/>
                  <a:pt x="159" y="472"/>
                </a:cubicBezTo>
                <a:cubicBezTo>
                  <a:pt x="159" y="509"/>
                  <a:pt x="189" y="539"/>
                  <a:pt x="226" y="539"/>
                </a:cubicBezTo>
                <a:lnTo>
                  <a:pt x="323" y="539"/>
                </a:lnTo>
                <a:lnTo>
                  <a:pt x="671" y="539"/>
                </a:lnTo>
                <a:lnTo>
                  <a:pt x="2248" y="539"/>
                </a:lnTo>
                <a:cubicBezTo>
                  <a:pt x="2396" y="539"/>
                  <a:pt x="2517" y="418"/>
                  <a:pt x="2517" y="269"/>
                </a:cubicBezTo>
                <a:cubicBezTo>
                  <a:pt x="2517" y="121"/>
                  <a:pt x="2396" y="0"/>
                  <a:pt x="2248" y="0"/>
                </a:cubicBezTo>
                <a:lnTo>
                  <a:pt x="671" y="0"/>
                </a:lnTo>
                <a:lnTo>
                  <a:pt x="323" y="0"/>
                </a:lnTo>
                <a:lnTo>
                  <a:pt x="226" y="0"/>
                </a:lnTo>
                <a:cubicBezTo>
                  <a:pt x="189" y="0"/>
                  <a:pt x="159" y="30"/>
                  <a:pt x="159" y="66"/>
                </a:cubicBezTo>
                <a:cubicBezTo>
                  <a:pt x="159" y="103"/>
                  <a:pt x="189" y="133"/>
                  <a:pt x="226" y="133"/>
                </a:cubicBezTo>
                <a:lnTo>
                  <a:pt x="257" y="133"/>
                </a:lnTo>
                <a:lnTo>
                  <a:pt x="257" y="405"/>
                </a:lnTo>
                <a:lnTo>
                  <a:pt x="226" y="405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7" name="up-triangle_59124"/>
          <p:cNvSpPr>
            <a:spLocks noChangeAspect="1"/>
          </p:cNvSpPr>
          <p:nvPr/>
        </p:nvSpPr>
        <p:spPr bwMode="auto">
          <a:xfrm>
            <a:off x="11582357" y="-248"/>
            <a:ext cx="609685" cy="325616"/>
          </a:xfrm>
          <a:custGeom>
            <a:avLst/>
            <a:gdLst>
              <a:gd name="T0" fmla="*/ 1600 w 1707"/>
              <a:gd name="T1" fmla="*/ 0 h 913"/>
              <a:gd name="T2" fmla="*/ 107 w 1707"/>
              <a:gd name="T3" fmla="*/ 0 h 913"/>
              <a:gd name="T4" fmla="*/ 51 w 1707"/>
              <a:gd name="T5" fmla="*/ 136 h 913"/>
              <a:gd name="T6" fmla="*/ 797 w 1707"/>
              <a:gd name="T7" fmla="*/ 882 h 913"/>
              <a:gd name="T8" fmla="*/ 909 w 1707"/>
              <a:gd name="T9" fmla="*/ 882 h 913"/>
              <a:gd name="T10" fmla="*/ 1656 w 1707"/>
              <a:gd name="T11" fmla="*/ 136 h 913"/>
              <a:gd name="T12" fmla="*/ 1600 w 1707"/>
              <a:gd name="T13" fmla="*/ 0 h 9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707" h="913">
                <a:moveTo>
                  <a:pt x="1600" y="0"/>
                </a:moveTo>
                <a:lnTo>
                  <a:pt x="107" y="0"/>
                </a:lnTo>
                <a:cubicBezTo>
                  <a:pt x="36" y="0"/>
                  <a:pt x="0" y="85"/>
                  <a:pt x="51" y="136"/>
                </a:cubicBezTo>
                <a:lnTo>
                  <a:pt x="797" y="882"/>
                </a:lnTo>
                <a:cubicBezTo>
                  <a:pt x="828" y="913"/>
                  <a:pt x="879" y="913"/>
                  <a:pt x="909" y="882"/>
                </a:cubicBezTo>
                <a:lnTo>
                  <a:pt x="1656" y="136"/>
                </a:lnTo>
                <a:cubicBezTo>
                  <a:pt x="1707" y="85"/>
                  <a:pt x="1671" y="0"/>
                  <a:pt x="1600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pic>
        <p:nvPicPr>
          <p:cNvPr id="5" name="图片 4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2"/>
          <a:stretch>
            <a:fillRect/>
          </a:stretch>
        </p:blipFill>
        <p:spPr>
          <a:xfrm>
            <a:off x="1540510" y="1090930"/>
            <a:ext cx="8787130" cy="2475230"/>
          </a:xfrm>
          <a:prstGeom prst="rect">
            <a:avLst/>
          </a:prstGeom>
        </p:spPr>
      </p:pic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4" name="五边形 3"/>
          <p:cNvSpPr/>
          <p:nvPr/>
        </p:nvSpPr>
        <p:spPr>
          <a:xfrm>
            <a:off x="589915" y="404495"/>
            <a:ext cx="4321175" cy="619125"/>
          </a:xfrm>
          <a:prstGeom prst="homePlat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p>
            <a:r>
              <a:rPr lang="zh-CN">
                <a:sym typeface="+mn-ea"/>
              </a:rPr>
              <a:t>典型例题</a:t>
            </a:r>
            <a:r>
              <a:rPr lang="en-US" altLang="zh-CN">
                <a:sym typeface="+mn-ea"/>
              </a:rPr>
              <a:t>2·</a:t>
            </a:r>
            <a:r>
              <a:rPr lang="en-US" altLang="zh-CN">
                <a:sym typeface="+mn-ea"/>
              </a:rPr>
              <a:t>2018</a:t>
            </a:r>
            <a:r>
              <a:rPr lang="zh-CN" altLang="en-US">
                <a:sym typeface="+mn-ea"/>
              </a:rPr>
              <a:t>全国卷</a:t>
            </a:r>
            <a:r>
              <a:rPr lang="en-US" altLang="zh-CN">
                <a:sym typeface="+mn-ea"/>
              </a:rPr>
              <a:t>Ⅰ</a:t>
            </a:r>
            <a:endParaRPr lang="zh-CN" altLang="en-US"/>
          </a:p>
        </p:txBody>
      </p:sp>
      <p:sp>
        <p:nvSpPr>
          <p:cNvPr id="9" name="three-books_73757"/>
          <p:cNvSpPr>
            <a:spLocks noChangeAspect="1"/>
          </p:cNvSpPr>
          <p:nvPr/>
        </p:nvSpPr>
        <p:spPr bwMode="auto">
          <a:xfrm>
            <a:off x="11582358" y="6383442"/>
            <a:ext cx="609685" cy="474136"/>
          </a:xfrm>
          <a:custGeom>
            <a:avLst/>
            <a:gdLst>
              <a:gd name="T0" fmla="*/ 2471 w 2903"/>
              <a:gd name="T1" fmla="*/ 1598 h 2261"/>
              <a:gd name="T2" fmla="*/ 2471 w 2903"/>
              <a:gd name="T3" fmla="*/ 2127 h 2261"/>
              <a:gd name="T4" fmla="*/ 2505 w 2903"/>
              <a:gd name="T5" fmla="*/ 2127 h 2261"/>
              <a:gd name="T6" fmla="*/ 2572 w 2903"/>
              <a:gd name="T7" fmla="*/ 2194 h 2261"/>
              <a:gd name="T8" fmla="*/ 2505 w 2903"/>
              <a:gd name="T9" fmla="*/ 2261 h 2261"/>
              <a:gd name="T10" fmla="*/ 2405 w 2903"/>
              <a:gd name="T11" fmla="*/ 2261 h 2261"/>
              <a:gd name="T12" fmla="*/ 2124 w 2903"/>
              <a:gd name="T13" fmla="*/ 2261 h 2261"/>
              <a:gd name="T14" fmla="*/ 398 w 2903"/>
              <a:gd name="T15" fmla="*/ 2261 h 2261"/>
              <a:gd name="T16" fmla="*/ 0 w 2903"/>
              <a:gd name="T17" fmla="*/ 1863 h 2261"/>
              <a:gd name="T18" fmla="*/ 398 w 2903"/>
              <a:gd name="T19" fmla="*/ 1465 h 2261"/>
              <a:gd name="T20" fmla="*/ 2124 w 2903"/>
              <a:gd name="T21" fmla="*/ 1465 h 2261"/>
              <a:gd name="T22" fmla="*/ 2405 w 2903"/>
              <a:gd name="T23" fmla="*/ 1465 h 2261"/>
              <a:gd name="T24" fmla="*/ 2505 w 2903"/>
              <a:gd name="T25" fmla="*/ 1465 h 2261"/>
              <a:gd name="T26" fmla="*/ 2572 w 2903"/>
              <a:gd name="T27" fmla="*/ 1532 h 2261"/>
              <a:gd name="T28" fmla="*/ 2505 w 2903"/>
              <a:gd name="T29" fmla="*/ 1598 h 2261"/>
              <a:gd name="T30" fmla="*/ 2471 w 2903"/>
              <a:gd name="T31" fmla="*/ 1598 h 2261"/>
              <a:gd name="T32" fmla="*/ 2836 w 2903"/>
              <a:gd name="T33" fmla="*/ 1195 h 2261"/>
              <a:gd name="T34" fmla="*/ 2786 w 2903"/>
              <a:gd name="T35" fmla="*/ 1195 h 2261"/>
              <a:gd name="T36" fmla="*/ 2786 w 2903"/>
              <a:gd name="T37" fmla="*/ 786 h 2261"/>
              <a:gd name="T38" fmla="*/ 2836 w 2903"/>
              <a:gd name="T39" fmla="*/ 786 h 2261"/>
              <a:gd name="T40" fmla="*/ 2903 w 2903"/>
              <a:gd name="T41" fmla="*/ 720 h 2261"/>
              <a:gd name="T42" fmla="*/ 2836 w 2903"/>
              <a:gd name="T43" fmla="*/ 653 h 2261"/>
              <a:gd name="T44" fmla="*/ 2720 w 2903"/>
              <a:gd name="T45" fmla="*/ 653 h 2261"/>
              <a:gd name="T46" fmla="*/ 2455 w 2903"/>
              <a:gd name="T47" fmla="*/ 653 h 2261"/>
              <a:gd name="T48" fmla="*/ 1005 w 2903"/>
              <a:gd name="T49" fmla="*/ 653 h 2261"/>
              <a:gd name="T50" fmla="*/ 668 w 2903"/>
              <a:gd name="T51" fmla="*/ 991 h 2261"/>
              <a:gd name="T52" fmla="*/ 1005 w 2903"/>
              <a:gd name="T53" fmla="*/ 1328 h 2261"/>
              <a:gd name="T54" fmla="*/ 2455 w 2903"/>
              <a:gd name="T55" fmla="*/ 1328 h 2261"/>
              <a:gd name="T56" fmla="*/ 2720 w 2903"/>
              <a:gd name="T57" fmla="*/ 1328 h 2261"/>
              <a:gd name="T58" fmla="*/ 2836 w 2903"/>
              <a:gd name="T59" fmla="*/ 1328 h 2261"/>
              <a:gd name="T60" fmla="*/ 2903 w 2903"/>
              <a:gd name="T61" fmla="*/ 1262 h 2261"/>
              <a:gd name="T62" fmla="*/ 2836 w 2903"/>
              <a:gd name="T63" fmla="*/ 1195 h 2261"/>
              <a:gd name="T64" fmla="*/ 226 w 2903"/>
              <a:gd name="T65" fmla="*/ 405 h 2261"/>
              <a:gd name="T66" fmla="*/ 159 w 2903"/>
              <a:gd name="T67" fmla="*/ 472 h 2261"/>
              <a:gd name="T68" fmla="*/ 226 w 2903"/>
              <a:gd name="T69" fmla="*/ 539 h 2261"/>
              <a:gd name="T70" fmla="*/ 323 w 2903"/>
              <a:gd name="T71" fmla="*/ 539 h 2261"/>
              <a:gd name="T72" fmla="*/ 671 w 2903"/>
              <a:gd name="T73" fmla="*/ 539 h 2261"/>
              <a:gd name="T74" fmla="*/ 2248 w 2903"/>
              <a:gd name="T75" fmla="*/ 539 h 2261"/>
              <a:gd name="T76" fmla="*/ 2517 w 2903"/>
              <a:gd name="T77" fmla="*/ 269 h 2261"/>
              <a:gd name="T78" fmla="*/ 2248 w 2903"/>
              <a:gd name="T79" fmla="*/ 0 h 2261"/>
              <a:gd name="T80" fmla="*/ 671 w 2903"/>
              <a:gd name="T81" fmla="*/ 0 h 2261"/>
              <a:gd name="T82" fmla="*/ 323 w 2903"/>
              <a:gd name="T83" fmla="*/ 0 h 2261"/>
              <a:gd name="T84" fmla="*/ 226 w 2903"/>
              <a:gd name="T85" fmla="*/ 0 h 2261"/>
              <a:gd name="T86" fmla="*/ 159 w 2903"/>
              <a:gd name="T87" fmla="*/ 66 h 2261"/>
              <a:gd name="T88" fmla="*/ 226 w 2903"/>
              <a:gd name="T89" fmla="*/ 133 h 2261"/>
              <a:gd name="T90" fmla="*/ 257 w 2903"/>
              <a:gd name="T91" fmla="*/ 133 h 2261"/>
              <a:gd name="T92" fmla="*/ 257 w 2903"/>
              <a:gd name="T93" fmla="*/ 405 h 2261"/>
              <a:gd name="T94" fmla="*/ 226 w 2903"/>
              <a:gd name="T95" fmla="*/ 405 h 22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2903" h="2261">
                <a:moveTo>
                  <a:pt x="2471" y="1598"/>
                </a:moveTo>
                <a:lnTo>
                  <a:pt x="2471" y="2127"/>
                </a:lnTo>
                <a:lnTo>
                  <a:pt x="2505" y="2127"/>
                </a:lnTo>
                <a:cubicBezTo>
                  <a:pt x="2542" y="2127"/>
                  <a:pt x="2572" y="2157"/>
                  <a:pt x="2572" y="2194"/>
                </a:cubicBezTo>
                <a:cubicBezTo>
                  <a:pt x="2572" y="2231"/>
                  <a:pt x="2542" y="2261"/>
                  <a:pt x="2505" y="2261"/>
                </a:cubicBezTo>
                <a:lnTo>
                  <a:pt x="2405" y="2261"/>
                </a:lnTo>
                <a:lnTo>
                  <a:pt x="2124" y="2261"/>
                </a:lnTo>
                <a:lnTo>
                  <a:pt x="398" y="2261"/>
                </a:lnTo>
                <a:cubicBezTo>
                  <a:pt x="178" y="2261"/>
                  <a:pt x="0" y="2082"/>
                  <a:pt x="0" y="1863"/>
                </a:cubicBezTo>
                <a:cubicBezTo>
                  <a:pt x="0" y="1643"/>
                  <a:pt x="178" y="1465"/>
                  <a:pt x="398" y="1465"/>
                </a:cubicBezTo>
                <a:lnTo>
                  <a:pt x="2124" y="1465"/>
                </a:lnTo>
                <a:lnTo>
                  <a:pt x="2405" y="1465"/>
                </a:lnTo>
                <a:lnTo>
                  <a:pt x="2505" y="1465"/>
                </a:lnTo>
                <a:cubicBezTo>
                  <a:pt x="2542" y="1465"/>
                  <a:pt x="2572" y="1495"/>
                  <a:pt x="2572" y="1532"/>
                </a:cubicBezTo>
                <a:cubicBezTo>
                  <a:pt x="2572" y="1568"/>
                  <a:pt x="2542" y="1598"/>
                  <a:pt x="2505" y="1598"/>
                </a:cubicBezTo>
                <a:lnTo>
                  <a:pt x="2471" y="1598"/>
                </a:lnTo>
                <a:close/>
                <a:moveTo>
                  <a:pt x="2836" y="1195"/>
                </a:moveTo>
                <a:lnTo>
                  <a:pt x="2786" y="1195"/>
                </a:lnTo>
                <a:lnTo>
                  <a:pt x="2786" y="786"/>
                </a:lnTo>
                <a:lnTo>
                  <a:pt x="2836" y="786"/>
                </a:lnTo>
                <a:cubicBezTo>
                  <a:pt x="2873" y="786"/>
                  <a:pt x="2903" y="757"/>
                  <a:pt x="2903" y="720"/>
                </a:cubicBezTo>
                <a:cubicBezTo>
                  <a:pt x="2903" y="683"/>
                  <a:pt x="2873" y="653"/>
                  <a:pt x="2836" y="653"/>
                </a:cubicBezTo>
                <a:lnTo>
                  <a:pt x="2720" y="653"/>
                </a:lnTo>
                <a:lnTo>
                  <a:pt x="2455" y="653"/>
                </a:lnTo>
                <a:lnTo>
                  <a:pt x="1005" y="653"/>
                </a:lnTo>
                <a:cubicBezTo>
                  <a:pt x="819" y="653"/>
                  <a:pt x="668" y="805"/>
                  <a:pt x="668" y="991"/>
                </a:cubicBezTo>
                <a:cubicBezTo>
                  <a:pt x="668" y="1177"/>
                  <a:pt x="819" y="1328"/>
                  <a:pt x="1005" y="1328"/>
                </a:cubicBezTo>
                <a:lnTo>
                  <a:pt x="2455" y="1328"/>
                </a:lnTo>
                <a:lnTo>
                  <a:pt x="2720" y="1328"/>
                </a:lnTo>
                <a:lnTo>
                  <a:pt x="2836" y="1328"/>
                </a:lnTo>
                <a:cubicBezTo>
                  <a:pt x="2873" y="1328"/>
                  <a:pt x="2903" y="1299"/>
                  <a:pt x="2903" y="1262"/>
                </a:cubicBezTo>
                <a:cubicBezTo>
                  <a:pt x="2903" y="1225"/>
                  <a:pt x="2873" y="1195"/>
                  <a:pt x="2836" y="1195"/>
                </a:cubicBezTo>
                <a:close/>
                <a:moveTo>
                  <a:pt x="226" y="405"/>
                </a:moveTo>
                <a:cubicBezTo>
                  <a:pt x="189" y="405"/>
                  <a:pt x="159" y="435"/>
                  <a:pt x="159" y="472"/>
                </a:cubicBezTo>
                <a:cubicBezTo>
                  <a:pt x="159" y="509"/>
                  <a:pt x="189" y="539"/>
                  <a:pt x="226" y="539"/>
                </a:cubicBezTo>
                <a:lnTo>
                  <a:pt x="323" y="539"/>
                </a:lnTo>
                <a:lnTo>
                  <a:pt x="671" y="539"/>
                </a:lnTo>
                <a:lnTo>
                  <a:pt x="2248" y="539"/>
                </a:lnTo>
                <a:cubicBezTo>
                  <a:pt x="2396" y="539"/>
                  <a:pt x="2517" y="418"/>
                  <a:pt x="2517" y="269"/>
                </a:cubicBezTo>
                <a:cubicBezTo>
                  <a:pt x="2517" y="121"/>
                  <a:pt x="2396" y="0"/>
                  <a:pt x="2248" y="0"/>
                </a:cubicBezTo>
                <a:lnTo>
                  <a:pt x="671" y="0"/>
                </a:lnTo>
                <a:lnTo>
                  <a:pt x="323" y="0"/>
                </a:lnTo>
                <a:lnTo>
                  <a:pt x="226" y="0"/>
                </a:lnTo>
                <a:cubicBezTo>
                  <a:pt x="189" y="0"/>
                  <a:pt x="159" y="30"/>
                  <a:pt x="159" y="66"/>
                </a:cubicBezTo>
                <a:cubicBezTo>
                  <a:pt x="159" y="103"/>
                  <a:pt x="189" y="133"/>
                  <a:pt x="226" y="133"/>
                </a:cubicBezTo>
                <a:lnTo>
                  <a:pt x="257" y="133"/>
                </a:lnTo>
                <a:lnTo>
                  <a:pt x="257" y="405"/>
                </a:lnTo>
                <a:lnTo>
                  <a:pt x="226" y="405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7" name="up-triangle_59124"/>
          <p:cNvSpPr>
            <a:spLocks noChangeAspect="1"/>
          </p:cNvSpPr>
          <p:nvPr/>
        </p:nvSpPr>
        <p:spPr bwMode="auto">
          <a:xfrm>
            <a:off x="11582357" y="-248"/>
            <a:ext cx="609685" cy="325616"/>
          </a:xfrm>
          <a:custGeom>
            <a:avLst/>
            <a:gdLst>
              <a:gd name="T0" fmla="*/ 1600 w 1707"/>
              <a:gd name="T1" fmla="*/ 0 h 913"/>
              <a:gd name="T2" fmla="*/ 107 w 1707"/>
              <a:gd name="T3" fmla="*/ 0 h 913"/>
              <a:gd name="T4" fmla="*/ 51 w 1707"/>
              <a:gd name="T5" fmla="*/ 136 h 913"/>
              <a:gd name="T6" fmla="*/ 797 w 1707"/>
              <a:gd name="T7" fmla="*/ 882 h 913"/>
              <a:gd name="T8" fmla="*/ 909 w 1707"/>
              <a:gd name="T9" fmla="*/ 882 h 913"/>
              <a:gd name="T10" fmla="*/ 1656 w 1707"/>
              <a:gd name="T11" fmla="*/ 136 h 913"/>
              <a:gd name="T12" fmla="*/ 1600 w 1707"/>
              <a:gd name="T13" fmla="*/ 0 h 9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707" h="913">
                <a:moveTo>
                  <a:pt x="1600" y="0"/>
                </a:moveTo>
                <a:lnTo>
                  <a:pt x="107" y="0"/>
                </a:lnTo>
                <a:cubicBezTo>
                  <a:pt x="36" y="0"/>
                  <a:pt x="0" y="85"/>
                  <a:pt x="51" y="136"/>
                </a:cubicBezTo>
                <a:lnTo>
                  <a:pt x="797" y="882"/>
                </a:lnTo>
                <a:cubicBezTo>
                  <a:pt x="828" y="913"/>
                  <a:pt x="879" y="913"/>
                  <a:pt x="909" y="882"/>
                </a:cubicBezTo>
                <a:lnTo>
                  <a:pt x="1656" y="136"/>
                </a:lnTo>
                <a:cubicBezTo>
                  <a:pt x="1707" y="85"/>
                  <a:pt x="1671" y="0"/>
                  <a:pt x="1600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pic>
        <p:nvPicPr>
          <p:cNvPr id="5" name="图片 4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2"/>
          <a:stretch>
            <a:fillRect/>
          </a:stretch>
        </p:blipFill>
        <p:spPr>
          <a:xfrm>
            <a:off x="1540510" y="1090930"/>
            <a:ext cx="8787130" cy="2475230"/>
          </a:xfrm>
          <a:prstGeom prst="rect">
            <a:avLst/>
          </a:prstGeom>
        </p:spPr>
      </p:pic>
      <p:sp>
        <p:nvSpPr>
          <p:cNvPr id="6" name="文本框 5"/>
          <p:cNvSpPr txBox="1"/>
          <p:nvPr/>
        </p:nvSpPr>
        <p:spPr>
          <a:xfrm>
            <a:off x="430530" y="4050665"/>
            <a:ext cx="1045845" cy="95313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 sz="2800" b="1">
                <a:latin typeface="宋体" panose="02010600030101010101" pitchFamily="2" charset="-122"/>
                <a:ea typeface="宋体" panose="02010600030101010101" pitchFamily="2" charset="-122"/>
              </a:rPr>
              <a:t>问题分析</a:t>
            </a:r>
            <a:endParaRPr lang="zh-CN" altLang="en-US" sz="2800" b="1">
              <a:latin typeface="宋体" panose="02010600030101010101" pitchFamily="2" charset="-122"/>
              <a:ea typeface="宋体" panose="02010600030101010101" pitchFamily="2" charset="-122"/>
            </a:endParaRPr>
          </a:p>
        </p:txBody>
      </p:sp>
      <p:cxnSp>
        <p:nvCxnSpPr>
          <p:cNvPr id="10" name="直接连接符 9"/>
          <p:cNvCxnSpPr/>
          <p:nvPr/>
        </p:nvCxnSpPr>
        <p:spPr>
          <a:xfrm>
            <a:off x="1630680" y="3477895"/>
            <a:ext cx="8255" cy="292925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3" name="组合 12"/>
          <p:cNvGrpSpPr/>
          <p:nvPr/>
        </p:nvGrpSpPr>
        <p:grpSpPr>
          <a:xfrm>
            <a:off x="1769745" y="3851275"/>
            <a:ext cx="10044430" cy="438150"/>
            <a:chOff x="2741" y="5730"/>
            <a:chExt cx="15818" cy="690"/>
          </a:xfrm>
        </p:grpSpPr>
        <p:pic>
          <p:nvPicPr>
            <p:cNvPr id="3" name="图片 2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741" y="5824"/>
              <a:ext cx="8811" cy="596"/>
            </a:xfrm>
            <a:prstGeom prst="rect">
              <a:avLst/>
            </a:prstGeom>
          </p:spPr>
        </p:pic>
        <p:pic>
          <p:nvPicPr>
            <p:cNvPr id="8" name="图片 7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1537" y="5730"/>
              <a:ext cx="7022" cy="690"/>
            </a:xfrm>
            <a:prstGeom prst="rect">
              <a:avLst/>
            </a:prstGeom>
          </p:spPr>
        </p:pic>
      </p:grpSp>
      <p:pic>
        <p:nvPicPr>
          <p:cNvPr id="11" name="图片 10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740535" y="4575175"/>
            <a:ext cx="6040120" cy="428625"/>
          </a:xfrm>
          <a:prstGeom prst="rect">
            <a:avLst/>
          </a:prstGeom>
        </p:spPr>
      </p:pic>
      <p:pic>
        <p:nvPicPr>
          <p:cNvPr id="12" name="图片 11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740535" y="5247640"/>
            <a:ext cx="4552950" cy="47625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2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2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2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2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2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2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4" name="五边形 3"/>
          <p:cNvSpPr/>
          <p:nvPr/>
        </p:nvSpPr>
        <p:spPr>
          <a:xfrm>
            <a:off x="589915" y="404495"/>
            <a:ext cx="4321175" cy="619125"/>
          </a:xfrm>
          <a:prstGeom prst="homePlat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p>
            <a:r>
              <a:rPr lang="zh-CN">
                <a:sym typeface="+mn-ea"/>
              </a:rPr>
              <a:t>典型例题</a:t>
            </a:r>
            <a:r>
              <a:rPr lang="en-US" altLang="zh-CN">
                <a:sym typeface="+mn-ea"/>
              </a:rPr>
              <a:t>2·</a:t>
            </a:r>
            <a:r>
              <a:rPr lang="en-US" altLang="zh-CN">
                <a:sym typeface="+mn-ea"/>
              </a:rPr>
              <a:t>2018</a:t>
            </a:r>
            <a:r>
              <a:rPr lang="zh-CN" altLang="en-US">
                <a:sym typeface="+mn-ea"/>
              </a:rPr>
              <a:t>全国卷</a:t>
            </a:r>
            <a:r>
              <a:rPr lang="en-US" altLang="zh-CN">
                <a:sym typeface="+mn-ea"/>
              </a:rPr>
              <a:t>Ⅰ</a:t>
            </a:r>
            <a:endParaRPr lang="zh-CN" altLang="en-US"/>
          </a:p>
        </p:txBody>
      </p:sp>
      <p:sp>
        <p:nvSpPr>
          <p:cNvPr id="9" name="three-books_73757"/>
          <p:cNvSpPr>
            <a:spLocks noChangeAspect="1"/>
          </p:cNvSpPr>
          <p:nvPr/>
        </p:nvSpPr>
        <p:spPr bwMode="auto">
          <a:xfrm>
            <a:off x="11582358" y="6383442"/>
            <a:ext cx="609685" cy="474136"/>
          </a:xfrm>
          <a:custGeom>
            <a:avLst/>
            <a:gdLst>
              <a:gd name="T0" fmla="*/ 2471 w 2903"/>
              <a:gd name="T1" fmla="*/ 1598 h 2261"/>
              <a:gd name="T2" fmla="*/ 2471 w 2903"/>
              <a:gd name="T3" fmla="*/ 2127 h 2261"/>
              <a:gd name="T4" fmla="*/ 2505 w 2903"/>
              <a:gd name="T5" fmla="*/ 2127 h 2261"/>
              <a:gd name="T6" fmla="*/ 2572 w 2903"/>
              <a:gd name="T7" fmla="*/ 2194 h 2261"/>
              <a:gd name="T8" fmla="*/ 2505 w 2903"/>
              <a:gd name="T9" fmla="*/ 2261 h 2261"/>
              <a:gd name="T10" fmla="*/ 2405 w 2903"/>
              <a:gd name="T11" fmla="*/ 2261 h 2261"/>
              <a:gd name="T12" fmla="*/ 2124 w 2903"/>
              <a:gd name="T13" fmla="*/ 2261 h 2261"/>
              <a:gd name="T14" fmla="*/ 398 w 2903"/>
              <a:gd name="T15" fmla="*/ 2261 h 2261"/>
              <a:gd name="T16" fmla="*/ 0 w 2903"/>
              <a:gd name="T17" fmla="*/ 1863 h 2261"/>
              <a:gd name="T18" fmla="*/ 398 w 2903"/>
              <a:gd name="T19" fmla="*/ 1465 h 2261"/>
              <a:gd name="T20" fmla="*/ 2124 w 2903"/>
              <a:gd name="T21" fmla="*/ 1465 h 2261"/>
              <a:gd name="T22" fmla="*/ 2405 w 2903"/>
              <a:gd name="T23" fmla="*/ 1465 h 2261"/>
              <a:gd name="T24" fmla="*/ 2505 w 2903"/>
              <a:gd name="T25" fmla="*/ 1465 h 2261"/>
              <a:gd name="T26" fmla="*/ 2572 w 2903"/>
              <a:gd name="T27" fmla="*/ 1532 h 2261"/>
              <a:gd name="T28" fmla="*/ 2505 w 2903"/>
              <a:gd name="T29" fmla="*/ 1598 h 2261"/>
              <a:gd name="T30" fmla="*/ 2471 w 2903"/>
              <a:gd name="T31" fmla="*/ 1598 h 2261"/>
              <a:gd name="T32" fmla="*/ 2836 w 2903"/>
              <a:gd name="T33" fmla="*/ 1195 h 2261"/>
              <a:gd name="T34" fmla="*/ 2786 w 2903"/>
              <a:gd name="T35" fmla="*/ 1195 h 2261"/>
              <a:gd name="T36" fmla="*/ 2786 w 2903"/>
              <a:gd name="T37" fmla="*/ 786 h 2261"/>
              <a:gd name="T38" fmla="*/ 2836 w 2903"/>
              <a:gd name="T39" fmla="*/ 786 h 2261"/>
              <a:gd name="T40" fmla="*/ 2903 w 2903"/>
              <a:gd name="T41" fmla="*/ 720 h 2261"/>
              <a:gd name="T42" fmla="*/ 2836 w 2903"/>
              <a:gd name="T43" fmla="*/ 653 h 2261"/>
              <a:gd name="T44" fmla="*/ 2720 w 2903"/>
              <a:gd name="T45" fmla="*/ 653 h 2261"/>
              <a:gd name="T46" fmla="*/ 2455 w 2903"/>
              <a:gd name="T47" fmla="*/ 653 h 2261"/>
              <a:gd name="T48" fmla="*/ 1005 w 2903"/>
              <a:gd name="T49" fmla="*/ 653 h 2261"/>
              <a:gd name="T50" fmla="*/ 668 w 2903"/>
              <a:gd name="T51" fmla="*/ 991 h 2261"/>
              <a:gd name="T52" fmla="*/ 1005 w 2903"/>
              <a:gd name="T53" fmla="*/ 1328 h 2261"/>
              <a:gd name="T54" fmla="*/ 2455 w 2903"/>
              <a:gd name="T55" fmla="*/ 1328 h 2261"/>
              <a:gd name="T56" fmla="*/ 2720 w 2903"/>
              <a:gd name="T57" fmla="*/ 1328 h 2261"/>
              <a:gd name="T58" fmla="*/ 2836 w 2903"/>
              <a:gd name="T59" fmla="*/ 1328 h 2261"/>
              <a:gd name="T60" fmla="*/ 2903 w 2903"/>
              <a:gd name="T61" fmla="*/ 1262 h 2261"/>
              <a:gd name="T62" fmla="*/ 2836 w 2903"/>
              <a:gd name="T63" fmla="*/ 1195 h 2261"/>
              <a:gd name="T64" fmla="*/ 226 w 2903"/>
              <a:gd name="T65" fmla="*/ 405 h 2261"/>
              <a:gd name="T66" fmla="*/ 159 w 2903"/>
              <a:gd name="T67" fmla="*/ 472 h 2261"/>
              <a:gd name="T68" fmla="*/ 226 w 2903"/>
              <a:gd name="T69" fmla="*/ 539 h 2261"/>
              <a:gd name="T70" fmla="*/ 323 w 2903"/>
              <a:gd name="T71" fmla="*/ 539 h 2261"/>
              <a:gd name="T72" fmla="*/ 671 w 2903"/>
              <a:gd name="T73" fmla="*/ 539 h 2261"/>
              <a:gd name="T74" fmla="*/ 2248 w 2903"/>
              <a:gd name="T75" fmla="*/ 539 h 2261"/>
              <a:gd name="T76" fmla="*/ 2517 w 2903"/>
              <a:gd name="T77" fmla="*/ 269 h 2261"/>
              <a:gd name="T78" fmla="*/ 2248 w 2903"/>
              <a:gd name="T79" fmla="*/ 0 h 2261"/>
              <a:gd name="T80" fmla="*/ 671 w 2903"/>
              <a:gd name="T81" fmla="*/ 0 h 2261"/>
              <a:gd name="T82" fmla="*/ 323 w 2903"/>
              <a:gd name="T83" fmla="*/ 0 h 2261"/>
              <a:gd name="T84" fmla="*/ 226 w 2903"/>
              <a:gd name="T85" fmla="*/ 0 h 2261"/>
              <a:gd name="T86" fmla="*/ 159 w 2903"/>
              <a:gd name="T87" fmla="*/ 66 h 2261"/>
              <a:gd name="T88" fmla="*/ 226 w 2903"/>
              <a:gd name="T89" fmla="*/ 133 h 2261"/>
              <a:gd name="T90" fmla="*/ 257 w 2903"/>
              <a:gd name="T91" fmla="*/ 133 h 2261"/>
              <a:gd name="T92" fmla="*/ 257 w 2903"/>
              <a:gd name="T93" fmla="*/ 405 h 2261"/>
              <a:gd name="T94" fmla="*/ 226 w 2903"/>
              <a:gd name="T95" fmla="*/ 405 h 22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2903" h="2261">
                <a:moveTo>
                  <a:pt x="2471" y="1598"/>
                </a:moveTo>
                <a:lnTo>
                  <a:pt x="2471" y="2127"/>
                </a:lnTo>
                <a:lnTo>
                  <a:pt x="2505" y="2127"/>
                </a:lnTo>
                <a:cubicBezTo>
                  <a:pt x="2542" y="2127"/>
                  <a:pt x="2572" y="2157"/>
                  <a:pt x="2572" y="2194"/>
                </a:cubicBezTo>
                <a:cubicBezTo>
                  <a:pt x="2572" y="2231"/>
                  <a:pt x="2542" y="2261"/>
                  <a:pt x="2505" y="2261"/>
                </a:cubicBezTo>
                <a:lnTo>
                  <a:pt x="2405" y="2261"/>
                </a:lnTo>
                <a:lnTo>
                  <a:pt x="2124" y="2261"/>
                </a:lnTo>
                <a:lnTo>
                  <a:pt x="398" y="2261"/>
                </a:lnTo>
                <a:cubicBezTo>
                  <a:pt x="178" y="2261"/>
                  <a:pt x="0" y="2082"/>
                  <a:pt x="0" y="1863"/>
                </a:cubicBezTo>
                <a:cubicBezTo>
                  <a:pt x="0" y="1643"/>
                  <a:pt x="178" y="1465"/>
                  <a:pt x="398" y="1465"/>
                </a:cubicBezTo>
                <a:lnTo>
                  <a:pt x="2124" y="1465"/>
                </a:lnTo>
                <a:lnTo>
                  <a:pt x="2405" y="1465"/>
                </a:lnTo>
                <a:lnTo>
                  <a:pt x="2505" y="1465"/>
                </a:lnTo>
                <a:cubicBezTo>
                  <a:pt x="2542" y="1465"/>
                  <a:pt x="2572" y="1495"/>
                  <a:pt x="2572" y="1532"/>
                </a:cubicBezTo>
                <a:cubicBezTo>
                  <a:pt x="2572" y="1568"/>
                  <a:pt x="2542" y="1598"/>
                  <a:pt x="2505" y="1598"/>
                </a:cubicBezTo>
                <a:lnTo>
                  <a:pt x="2471" y="1598"/>
                </a:lnTo>
                <a:close/>
                <a:moveTo>
                  <a:pt x="2836" y="1195"/>
                </a:moveTo>
                <a:lnTo>
                  <a:pt x="2786" y="1195"/>
                </a:lnTo>
                <a:lnTo>
                  <a:pt x="2786" y="786"/>
                </a:lnTo>
                <a:lnTo>
                  <a:pt x="2836" y="786"/>
                </a:lnTo>
                <a:cubicBezTo>
                  <a:pt x="2873" y="786"/>
                  <a:pt x="2903" y="757"/>
                  <a:pt x="2903" y="720"/>
                </a:cubicBezTo>
                <a:cubicBezTo>
                  <a:pt x="2903" y="683"/>
                  <a:pt x="2873" y="653"/>
                  <a:pt x="2836" y="653"/>
                </a:cubicBezTo>
                <a:lnTo>
                  <a:pt x="2720" y="653"/>
                </a:lnTo>
                <a:lnTo>
                  <a:pt x="2455" y="653"/>
                </a:lnTo>
                <a:lnTo>
                  <a:pt x="1005" y="653"/>
                </a:lnTo>
                <a:cubicBezTo>
                  <a:pt x="819" y="653"/>
                  <a:pt x="668" y="805"/>
                  <a:pt x="668" y="991"/>
                </a:cubicBezTo>
                <a:cubicBezTo>
                  <a:pt x="668" y="1177"/>
                  <a:pt x="819" y="1328"/>
                  <a:pt x="1005" y="1328"/>
                </a:cubicBezTo>
                <a:lnTo>
                  <a:pt x="2455" y="1328"/>
                </a:lnTo>
                <a:lnTo>
                  <a:pt x="2720" y="1328"/>
                </a:lnTo>
                <a:lnTo>
                  <a:pt x="2836" y="1328"/>
                </a:lnTo>
                <a:cubicBezTo>
                  <a:pt x="2873" y="1328"/>
                  <a:pt x="2903" y="1299"/>
                  <a:pt x="2903" y="1262"/>
                </a:cubicBezTo>
                <a:cubicBezTo>
                  <a:pt x="2903" y="1225"/>
                  <a:pt x="2873" y="1195"/>
                  <a:pt x="2836" y="1195"/>
                </a:cubicBezTo>
                <a:close/>
                <a:moveTo>
                  <a:pt x="226" y="405"/>
                </a:moveTo>
                <a:cubicBezTo>
                  <a:pt x="189" y="405"/>
                  <a:pt x="159" y="435"/>
                  <a:pt x="159" y="472"/>
                </a:cubicBezTo>
                <a:cubicBezTo>
                  <a:pt x="159" y="509"/>
                  <a:pt x="189" y="539"/>
                  <a:pt x="226" y="539"/>
                </a:cubicBezTo>
                <a:lnTo>
                  <a:pt x="323" y="539"/>
                </a:lnTo>
                <a:lnTo>
                  <a:pt x="671" y="539"/>
                </a:lnTo>
                <a:lnTo>
                  <a:pt x="2248" y="539"/>
                </a:lnTo>
                <a:cubicBezTo>
                  <a:pt x="2396" y="539"/>
                  <a:pt x="2517" y="418"/>
                  <a:pt x="2517" y="269"/>
                </a:cubicBezTo>
                <a:cubicBezTo>
                  <a:pt x="2517" y="121"/>
                  <a:pt x="2396" y="0"/>
                  <a:pt x="2248" y="0"/>
                </a:cubicBezTo>
                <a:lnTo>
                  <a:pt x="671" y="0"/>
                </a:lnTo>
                <a:lnTo>
                  <a:pt x="323" y="0"/>
                </a:lnTo>
                <a:lnTo>
                  <a:pt x="226" y="0"/>
                </a:lnTo>
                <a:cubicBezTo>
                  <a:pt x="189" y="0"/>
                  <a:pt x="159" y="30"/>
                  <a:pt x="159" y="66"/>
                </a:cubicBezTo>
                <a:cubicBezTo>
                  <a:pt x="159" y="103"/>
                  <a:pt x="189" y="133"/>
                  <a:pt x="226" y="133"/>
                </a:cubicBezTo>
                <a:lnTo>
                  <a:pt x="257" y="133"/>
                </a:lnTo>
                <a:lnTo>
                  <a:pt x="257" y="405"/>
                </a:lnTo>
                <a:lnTo>
                  <a:pt x="226" y="405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7" name="up-triangle_59124"/>
          <p:cNvSpPr>
            <a:spLocks noChangeAspect="1"/>
          </p:cNvSpPr>
          <p:nvPr/>
        </p:nvSpPr>
        <p:spPr bwMode="auto">
          <a:xfrm>
            <a:off x="11582357" y="-248"/>
            <a:ext cx="609685" cy="325616"/>
          </a:xfrm>
          <a:custGeom>
            <a:avLst/>
            <a:gdLst>
              <a:gd name="T0" fmla="*/ 1600 w 1707"/>
              <a:gd name="T1" fmla="*/ 0 h 913"/>
              <a:gd name="T2" fmla="*/ 107 w 1707"/>
              <a:gd name="T3" fmla="*/ 0 h 913"/>
              <a:gd name="T4" fmla="*/ 51 w 1707"/>
              <a:gd name="T5" fmla="*/ 136 h 913"/>
              <a:gd name="T6" fmla="*/ 797 w 1707"/>
              <a:gd name="T7" fmla="*/ 882 h 913"/>
              <a:gd name="T8" fmla="*/ 909 w 1707"/>
              <a:gd name="T9" fmla="*/ 882 h 913"/>
              <a:gd name="T10" fmla="*/ 1656 w 1707"/>
              <a:gd name="T11" fmla="*/ 136 h 913"/>
              <a:gd name="T12" fmla="*/ 1600 w 1707"/>
              <a:gd name="T13" fmla="*/ 0 h 9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707" h="913">
                <a:moveTo>
                  <a:pt x="1600" y="0"/>
                </a:moveTo>
                <a:lnTo>
                  <a:pt x="107" y="0"/>
                </a:lnTo>
                <a:cubicBezTo>
                  <a:pt x="36" y="0"/>
                  <a:pt x="0" y="85"/>
                  <a:pt x="51" y="136"/>
                </a:cubicBezTo>
                <a:lnTo>
                  <a:pt x="797" y="882"/>
                </a:lnTo>
                <a:cubicBezTo>
                  <a:pt x="828" y="913"/>
                  <a:pt x="879" y="913"/>
                  <a:pt x="909" y="882"/>
                </a:cubicBezTo>
                <a:lnTo>
                  <a:pt x="1656" y="136"/>
                </a:lnTo>
                <a:cubicBezTo>
                  <a:pt x="1707" y="85"/>
                  <a:pt x="1671" y="0"/>
                  <a:pt x="1600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pic>
        <p:nvPicPr>
          <p:cNvPr id="5" name="图片 4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2"/>
          <a:stretch>
            <a:fillRect/>
          </a:stretch>
        </p:blipFill>
        <p:spPr>
          <a:xfrm>
            <a:off x="1540510" y="1090930"/>
            <a:ext cx="8787130" cy="2475230"/>
          </a:xfrm>
          <a:prstGeom prst="rect">
            <a:avLst/>
          </a:prstGeom>
        </p:spPr>
      </p:pic>
      <p:sp>
        <p:nvSpPr>
          <p:cNvPr id="6" name="文本框 5"/>
          <p:cNvSpPr txBox="1"/>
          <p:nvPr/>
        </p:nvSpPr>
        <p:spPr>
          <a:xfrm>
            <a:off x="430530" y="4050665"/>
            <a:ext cx="1045845" cy="95313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 sz="2800" b="1">
                <a:latin typeface="宋体" panose="02010600030101010101" pitchFamily="2" charset="-122"/>
                <a:ea typeface="宋体" panose="02010600030101010101" pitchFamily="2" charset="-122"/>
              </a:rPr>
              <a:t>解析过程</a:t>
            </a:r>
            <a:endParaRPr lang="zh-CN" altLang="en-US" sz="2800" b="1">
              <a:latin typeface="宋体" panose="02010600030101010101" pitchFamily="2" charset="-122"/>
              <a:ea typeface="宋体" panose="02010600030101010101" pitchFamily="2" charset="-122"/>
            </a:endParaRPr>
          </a:p>
        </p:txBody>
      </p:sp>
      <p:cxnSp>
        <p:nvCxnSpPr>
          <p:cNvPr id="10" name="直接连接符 9"/>
          <p:cNvCxnSpPr/>
          <p:nvPr/>
        </p:nvCxnSpPr>
        <p:spPr>
          <a:xfrm>
            <a:off x="1630680" y="3477895"/>
            <a:ext cx="8255" cy="292925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" name="对象 10"/>
          <p:cNvGraphicFramePr>
            <a:graphicFrameLocks noChangeAspect="1"/>
          </p:cNvGraphicFramePr>
          <p:nvPr/>
        </p:nvGraphicFramePr>
        <p:xfrm>
          <a:off x="1743710" y="3663315"/>
          <a:ext cx="4234815" cy="110299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" name="" r:id="rId3" imgW="1866900" imgH="482600" progId="Equation.KSEE3">
                  <p:embed/>
                </p:oleObj>
              </mc:Choice>
              <mc:Fallback>
                <p:oleObj name="" r:id="rId3" imgW="1866900" imgH="482600" progId="Equation.KSEE3">
                  <p:embed/>
                  <p:pic>
                    <p:nvPicPr>
                      <p:cNvPr id="0" name="图片 1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743710" y="3663315"/>
                        <a:ext cx="4234815" cy="1102995"/>
                      </a:xfrm>
                      <a:prstGeom prst="rect">
                        <a:avLst/>
                      </a:prstGeom>
                      <a:noFill/>
                      <a:ln w="38100">
                        <a:noFill/>
                        <a:miter/>
                      </a:ln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" name="对象 -2147482615"/>
          <p:cNvGraphicFramePr>
            <a:graphicFrameLocks noChangeAspect="1"/>
          </p:cNvGraphicFramePr>
          <p:nvPr/>
        </p:nvGraphicFramePr>
        <p:xfrm>
          <a:off x="1743710" y="4864100"/>
          <a:ext cx="3758565" cy="48514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" name="" r:id="rId5" imgW="1688465" imgH="215900" progId="Equation.KSEE3">
                  <p:embed/>
                </p:oleObj>
              </mc:Choice>
              <mc:Fallback>
                <p:oleObj name="" r:id="rId5" imgW="1688465" imgH="215900" progId="Equation.KSEE3">
                  <p:embed/>
                  <p:pic>
                    <p:nvPicPr>
                      <p:cNvPr id="0" name="图片 12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43710" y="4864100"/>
                        <a:ext cx="3758565" cy="485140"/>
                      </a:xfrm>
                      <a:prstGeom prst="rect">
                        <a:avLst/>
                      </a:prstGeom>
                      <a:noFill/>
                      <a:ln w="38100">
                        <a:noFill/>
                        <a:miter/>
                      </a:ln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图片 7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863330" y="3634740"/>
            <a:ext cx="3075305" cy="2519680"/>
          </a:xfrm>
          <a:prstGeom prst="rect">
            <a:avLst/>
          </a:prstGeom>
        </p:spPr>
      </p:pic>
      <p:cxnSp>
        <p:nvCxnSpPr>
          <p:cNvPr id="14" name="直接连接符 13"/>
          <p:cNvCxnSpPr/>
          <p:nvPr/>
        </p:nvCxnSpPr>
        <p:spPr>
          <a:xfrm>
            <a:off x="8794115" y="4766310"/>
            <a:ext cx="1710690" cy="1334770"/>
          </a:xfrm>
          <a:prstGeom prst="line">
            <a:avLst/>
          </a:prstGeom>
          <a:ln w="28575" cmpd="sng">
            <a:solidFill>
              <a:srgbClr val="A400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直接连接符 14"/>
          <p:cNvCxnSpPr/>
          <p:nvPr/>
        </p:nvCxnSpPr>
        <p:spPr>
          <a:xfrm>
            <a:off x="9407525" y="4227195"/>
            <a:ext cx="1710690" cy="1334770"/>
          </a:xfrm>
          <a:prstGeom prst="line">
            <a:avLst/>
          </a:prstGeom>
          <a:ln w="28575" cmpd="sng">
            <a:solidFill>
              <a:srgbClr val="A400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6" name="对象 -2147482614"/>
          <p:cNvGraphicFramePr>
            <a:graphicFrameLocks noChangeAspect="1"/>
          </p:cNvGraphicFramePr>
          <p:nvPr/>
        </p:nvGraphicFramePr>
        <p:xfrm>
          <a:off x="1743710" y="5680710"/>
          <a:ext cx="5211445" cy="47371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" name="" r:id="rId8" imgW="2247900" imgH="203200" progId="Equation.KSEE3">
                  <p:embed/>
                </p:oleObj>
              </mc:Choice>
              <mc:Fallback>
                <p:oleObj name="" r:id="rId8" imgW="2247900" imgH="203200" progId="Equation.KSEE3">
                  <p:embed/>
                  <p:pic>
                    <p:nvPicPr>
                      <p:cNvPr id="0" name="图片 15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743710" y="5680710"/>
                        <a:ext cx="5211445" cy="473710"/>
                      </a:xfrm>
                      <a:prstGeom prst="rect">
                        <a:avLst/>
                      </a:prstGeom>
                      <a:noFill/>
                      <a:ln w="38100">
                        <a:noFill/>
                        <a:miter/>
                      </a:ln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2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2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2000"/>
                            </p:stCondLst>
                            <p:childTnLst>
                              <p:par>
                                <p:cTn id="9" presetID="1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2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2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2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4" dur="2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0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00000 0.000000 L -0.005677 0.005833 L -0.011354 0.015926 L -0.017031 0.021667 L -0.022708 0.030278 L -0.028385 0.037500 L -0.032448 0.047593 L -0.038125 0.059167 L -0.043802 0.066389 L -0.048646 0.076481 L -0.042188 0.070648 L -0.035677 0.060556 L -0.030000 0.053426 L -0.023542 0.046204 L -0.017865 0.037500 L -0.011354 0.028889 L -0.006510 0.018796 L -0.000833 0.010093 " pathEditMode="relative" ptsTypes="">
                                      <p:cBhvr>
                                        <p:cTn id="28" dur="5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5000"/>
                            </p:stCondLst>
                            <p:childTnLst>
                              <p:par>
                                <p:cTn id="30" presetID="1" presetClass="entr" presetSubtype="0" fill="hold" nodeType="after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4" name="五边形 3"/>
          <p:cNvSpPr/>
          <p:nvPr/>
        </p:nvSpPr>
        <p:spPr>
          <a:xfrm>
            <a:off x="589915" y="404495"/>
            <a:ext cx="4321175" cy="619125"/>
          </a:xfrm>
          <a:prstGeom prst="homePlat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p>
            <a:r>
              <a:rPr lang="zh-CN">
                <a:sym typeface="+mn-ea"/>
              </a:rPr>
              <a:t>典型例题</a:t>
            </a:r>
            <a:r>
              <a:rPr lang="en-US" altLang="zh-CN">
                <a:sym typeface="+mn-ea"/>
              </a:rPr>
              <a:t>2·</a:t>
            </a:r>
            <a:r>
              <a:rPr lang="en-US" altLang="zh-CN">
                <a:sym typeface="+mn-ea"/>
              </a:rPr>
              <a:t>2018</a:t>
            </a:r>
            <a:r>
              <a:rPr lang="zh-CN" altLang="en-US">
                <a:sym typeface="+mn-ea"/>
              </a:rPr>
              <a:t>全国卷</a:t>
            </a:r>
            <a:r>
              <a:rPr lang="en-US" altLang="zh-CN">
                <a:sym typeface="+mn-ea"/>
              </a:rPr>
              <a:t>Ⅰ</a:t>
            </a:r>
            <a:endParaRPr lang="zh-CN" altLang="en-US"/>
          </a:p>
        </p:txBody>
      </p:sp>
      <p:sp>
        <p:nvSpPr>
          <p:cNvPr id="9" name="three-books_73757"/>
          <p:cNvSpPr>
            <a:spLocks noChangeAspect="1"/>
          </p:cNvSpPr>
          <p:nvPr/>
        </p:nvSpPr>
        <p:spPr bwMode="auto">
          <a:xfrm>
            <a:off x="11582358" y="6383442"/>
            <a:ext cx="609685" cy="474136"/>
          </a:xfrm>
          <a:custGeom>
            <a:avLst/>
            <a:gdLst>
              <a:gd name="T0" fmla="*/ 2471 w 2903"/>
              <a:gd name="T1" fmla="*/ 1598 h 2261"/>
              <a:gd name="T2" fmla="*/ 2471 w 2903"/>
              <a:gd name="T3" fmla="*/ 2127 h 2261"/>
              <a:gd name="T4" fmla="*/ 2505 w 2903"/>
              <a:gd name="T5" fmla="*/ 2127 h 2261"/>
              <a:gd name="T6" fmla="*/ 2572 w 2903"/>
              <a:gd name="T7" fmla="*/ 2194 h 2261"/>
              <a:gd name="T8" fmla="*/ 2505 w 2903"/>
              <a:gd name="T9" fmla="*/ 2261 h 2261"/>
              <a:gd name="T10" fmla="*/ 2405 w 2903"/>
              <a:gd name="T11" fmla="*/ 2261 h 2261"/>
              <a:gd name="T12" fmla="*/ 2124 w 2903"/>
              <a:gd name="T13" fmla="*/ 2261 h 2261"/>
              <a:gd name="T14" fmla="*/ 398 w 2903"/>
              <a:gd name="T15" fmla="*/ 2261 h 2261"/>
              <a:gd name="T16" fmla="*/ 0 w 2903"/>
              <a:gd name="T17" fmla="*/ 1863 h 2261"/>
              <a:gd name="T18" fmla="*/ 398 w 2903"/>
              <a:gd name="T19" fmla="*/ 1465 h 2261"/>
              <a:gd name="T20" fmla="*/ 2124 w 2903"/>
              <a:gd name="T21" fmla="*/ 1465 h 2261"/>
              <a:gd name="T22" fmla="*/ 2405 w 2903"/>
              <a:gd name="T23" fmla="*/ 1465 h 2261"/>
              <a:gd name="T24" fmla="*/ 2505 w 2903"/>
              <a:gd name="T25" fmla="*/ 1465 h 2261"/>
              <a:gd name="T26" fmla="*/ 2572 w 2903"/>
              <a:gd name="T27" fmla="*/ 1532 h 2261"/>
              <a:gd name="T28" fmla="*/ 2505 w 2903"/>
              <a:gd name="T29" fmla="*/ 1598 h 2261"/>
              <a:gd name="T30" fmla="*/ 2471 w 2903"/>
              <a:gd name="T31" fmla="*/ 1598 h 2261"/>
              <a:gd name="T32" fmla="*/ 2836 w 2903"/>
              <a:gd name="T33" fmla="*/ 1195 h 2261"/>
              <a:gd name="T34" fmla="*/ 2786 w 2903"/>
              <a:gd name="T35" fmla="*/ 1195 h 2261"/>
              <a:gd name="T36" fmla="*/ 2786 w 2903"/>
              <a:gd name="T37" fmla="*/ 786 h 2261"/>
              <a:gd name="T38" fmla="*/ 2836 w 2903"/>
              <a:gd name="T39" fmla="*/ 786 h 2261"/>
              <a:gd name="T40" fmla="*/ 2903 w 2903"/>
              <a:gd name="T41" fmla="*/ 720 h 2261"/>
              <a:gd name="T42" fmla="*/ 2836 w 2903"/>
              <a:gd name="T43" fmla="*/ 653 h 2261"/>
              <a:gd name="T44" fmla="*/ 2720 w 2903"/>
              <a:gd name="T45" fmla="*/ 653 h 2261"/>
              <a:gd name="T46" fmla="*/ 2455 w 2903"/>
              <a:gd name="T47" fmla="*/ 653 h 2261"/>
              <a:gd name="T48" fmla="*/ 1005 w 2903"/>
              <a:gd name="T49" fmla="*/ 653 h 2261"/>
              <a:gd name="T50" fmla="*/ 668 w 2903"/>
              <a:gd name="T51" fmla="*/ 991 h 2261"/>
              <a:gd name="T52" fmla="*/ 1005 w 2903"/>
              <a:gd name="T53" fmla="*/ 1328 h 2261"/>
              <a:gd name="T54" fmla="*/ 2455 w 2903"/>
              <a:gd name="T55" fmla="*/ 1328 h 2261"/>
              <a:gd name="T56" fmla="*/ 2720 w 2903"/>
              <a:gd name="T57" fmla="*/ 1328 h 2261"/>
              <a:gd name="T58" fmla="*/ 2836 w 2903"/>
              <a:gd name="T59" fmla="*/ 1328 h 2261"/>
              <a:gd name="T60" fmla="*/ 2903 w 2903"/>
              <a:gd name="T61" fmla="*/ 1262 h 2261"/>
              <a:gd name="T62" fmla="*/ 2836 w 2903"/>
              <a:gd name="T63" fmla="*/ 1195 h 2261"/>
              <a:gd name="T64" fmla="*/ 226 w 2903"/>
              <a:gd name="T65" fmla="*/ 405 h 2261"/>
              <a:gd name="T66" fmla="*/ 159 w 2903"/>
              <a:gd name="T67" fmla="*/ 472 h 2261"/>
              <a:gd name="T68" fmla="*/ 226 w 2903"/>
              <a:gd name="T69" fmla="*/ 539 h 2261"/>
              <a:gd name="T70" fmla="*/ 323 w 2903"/>
              <a:gd name="T71" fmla="*/ 539 h 2261"/>
              <a:gd name="T72" fmla="*/ 671 w 2903"/>
              <a:gd name="T73" fmla="*/ 539 h 2261"/>
              <a:gd name="T74" fmla="*/ 2248 w 2903"/>
              <a:gd name="T75" fmla="*/ 539 h 2261"/>
              <a:gd name="T76" fmla="*/ 2517 w 2903"/>
              <a:gd name="T77" fmla="*/ 269 h 2261"/>
              <a:gd name="T78" fmla="*/ 2248 w 2903"/>
              <a:gd name="T79" fmla="*/ 0 h 2261"/>
              <a:gd name="T80" fmla="*/ 671 w 2903"/>
              <a:gd name="T81" fmla="*/ 0 h 2261"/>
              <a:gd name="T82" fmla="*/ 323 w 2903"/>
              <a:gd name="T83" fmla="*/ 0 h 2261"/>
              <a:gd name="T84" fmla="*/ 226 w 2903"/>
              <a:gd name="T85" fmla="*/ 0 h 2261"/>
              <a:gd name="T86" fmla="*/ 159 w 2903"/>
              <a:gd name="T87" fmla="*/ 66 h 2261"/>
              <a:gd name="T88" fmla="*/ 226 w 2903"/>
              <a:gd name="T89" fmla="*/ 133 h 2261"/>
              <a:gd name="T90" fmla="*/ 257 w 2903"/>
              <a:gd name="T91" fmla="*/ 133 h 2261"/>
              <a:gd name="T92" fmla="*/ 257 w 2903"/>
              <a:gd name="T93" fmla="*/ 405 h 2261"/>
              <a:gd name="T94" fmla="*/ 226 w 2903"/>
              <a:gd name="T95" fmla="*/ 405 h 22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2903" h="2261">
                <a:moveTo>
                  <a:pt x="2471" y="1598"/>
                </a:moveTo>
                <a:lnTo>
                  <a:pt x="2471" y="2127"/>
                </a:lnTo>
                <a:lnTo>
                  <a:pt x="2505" y="2127"/>
                </a:lnTo>
                <a:cubicBezTo>
                  <a:pt x="2542" y="2127"/>
                  <a:pt x="2572" y="2157"/>
                  <a:pt x="2572" y="2194"/>
                </a:cubicBezTo>
                <a:cubicBezTo>
                  <a:pt x="2572" y="2231"/>
                  <a:pt x="2542" y="2261"/>
                  <a:pt x="2505" y="2261"/>
                </a:cubicBezTo>
                <a:lnTo>
                  <a:pt x="2405" y="2261"/>
                </a:lnTo>
                <a:lnTo>
                  <a:pt x="2124" y="2261"/>
                </a:lnTo>
                <a:lnTo>
                  <a:pt x="398" y="2261"/>
                </a:lnTo>
                <a:cubicBezTo>
                  <a:pt x="178" y="2261"/>
                  <a:pt x="0" y="2082"/>
                  <a:pt x="0" y="1863"/>
                </a:cubicBezTo>
                <a:cubicBezTo>
                  <a:pt x="0" y="1643"/>
                  <a:pt x="178" y="1465"/>
                  <a:pt x="398" y="1465"/>
                </a:cubicBezTo>
                <a:lnTo>
                  <a:pt x="2124" y="1465"/>
                </a:lnTo>
                <a:lnTo>
                  <a:pt x="2405" y="1465"/>
                </a:lnTo>
                <a:lnTo>
                  <a:pt x="2505" y="1465"/>
                </a:lnTo>
                <a:cubicBezTo>
                  <a:pt x="2542" y="1465"/>
                  <a:pt x="2572" y="1495"/>
                  <a:pt x="2572" y="1532"/>
                </a:cubicBezTo>
                <a:cubicBezTo>
                  <a:pt x="2572" y="1568"/>
                  <a:pt x="2542" y="1598"/>
                  <a:pt x="2505" y="1598"/>
                </a:cubicBezTo>
                <a:lnTo>
                  <a:pt x="2471" y="1598"/>
                </a:lnTo>
                <a:close/>
                <a:moveTo>
                  <a:pt x="2836" y="1195"/>
                </a:moveTo>
                <a:lnTo>
                  <a:pt x="2786" y="1195"/>
                </a:lnTo>
                <a:lnTo>
                  <a:pt x="2786" y="786"/>
                </a:lnTo>
                <a:lnTo>
                  <a:pt x="2836" y="786"/>
                </a:lnTo>
                <a:cubicBezTo>
                  <a:pt x="2873" y="786"/>
                  <a:pt x="2903" y="757"/>
                  <a:pt x="2903" y="720"/>
                </a:cubicBezTo>
                <a:cubicBezTo>
                  <a:pt x="2903" y="683"/>
                  <a:pt x="2873" y="653"/>
                  <a:pt x="2836" y="653"/>
                </a:cubicBezTo>
                <a:lnTo>
                  <a:pt x="2720" y="653"/>
                </a:lnTo>
                <a:lnTo>
                  <a:pt x="2455" y="653"/>
                </a:lnTo>
                <a:lnTo>
                  <a:pt x="1005" y="653"/>
                </a:lnTo>
                <a:cubicBezTo>
                  <a:pt x="819" y="653"/>
                  <a:pt x="668" y="805"/>
                  <a:pt x="668" y="991"/>
                </a:cubicBezTo>
                <a:cubicBezTo>
                  <a:pt x="668" y="1177"/>
                  <a:pt x="819" y="1328"/>
                  <a:pt x="1005" y="1328"/>
                </a:cubicBezTo>
                <a:lnTo>
                  <a:pt x="2455" y="1328"/>
                </a:lnTo>
                <a:lnTo>
                  <a:pt x="2720" y="1328"/>
                </a:lnTo>
                <a:lnTo>
                  <a:pt x="2836" y="1328"/>
                </a:lnTo>
                <a:cubicBezTo>
                  <a:pt x="2873" y="1328"/>
                  <a:pt x="2903" y="1299"/>
                  <a:pt x="2903" y="1262"/>
                </a:cubicBezTo>
                <a:cubicBezTo>
                  <a:pt x="2903" y="1225"/>
                  <a:pt x="2873" y="1195"/>
                  <a:pt x="2836" y="1195"/>
                </a:cubicBezTo>
                <a:close/>
                <a:moveTo>
                  <a:pt x="226" y="405"/>
                </a:moveTo>
                <a:cubicBezTo>
                  <a:pt x="189" y="405"/>
                  <a:pt x="159" y="435"/>
                  <a:pt x="159" y="472"/>
                </a:cubicBezTo>
                <a:cubicBezTo>
                  <a:pt x="159" y="509"/>
                  <a:pt x="189" y="539"/>
                  <a:pt x="226" y="539"/>
                </a:cubicBezTo>
                <a:lnTo>
                  <a:pt x="323" y="539"/>
                </a:lnTo>
                <a:lnTo>
                  <a:pt x="671" y="539"/>
                </a:lnTo>
                <a:lnTo>
                  <a:pt x="2248" y="539"/>
                </a:lnTo>
                <a:cubicBezTo>
                  <a:pt x="2396" y="539"/>
                  <a:pt x="2517" y="418"/>
                  <a:pt x="2517" y="269"/>
                </a:cubicBezTo>
                <a:cubicBezTo>
                  <a:pt x="2517" y="121"/>
                  <a:pt x="2396" y="0"/>
                  <a:pt x="2248" y="0"/>
                </a:cubicBezTo>
                <a:lnTo>
                  <a:pt x="671" y="0"/>
                </a:lnTo>
                <a:lnTo>
                  <a:pt x="323" y="0"/>
                </a:lnTo>
                <a:lnTo>
                  <a:pt x="226" y="0"/>
                </a:lnTo>
                <a:cubicBezTo>
                  <a:pt x="189" y="0"/>
                  <a:pt x="159" y="30"/>
                  <a:pt x="159" y="66"/>
                </a:cubicBezTo>
                <a:cubicBezTo>
                  <a:pt x="159" y="103"/>
                  <a:pt x="189" y="133"/>
                  <a:pt x="226" y="133"/>
                </a:cubicBezTo>
                <a:lnTo>
                  <a:pt x="257" y="133"/>
                </a:lnTo>
                <a:lnTo>
                  <a:pt x="257" y="405"/>
                </a:lnTo>
                <a:lnTo>
                  <a:pt x="226" y="405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7" name="up-triangle_59124"/>
          <p:cNvSpPr>
            <a:spLocks noChangeAspect="1"/>
          </p:cNvSpPr>
          <p:nvPr/>
        </p:nvSpPr>
        <p:spPr bwMode="auto">
          <a:xfrm>
            <a:off x="11582357" y="-248"/>
            <a:ext cx="609685" cy="325616"/>
          </a:xfrm>
          <a:custGeom>
            <a:avLst/>
            <a:gdLst>
              <a:gd name="T0" fmla="*/ 1600 w 1707"/>
              <a:gd name="T1" fmla="*/ 0 h 913"/>
              <a:gd name="T2" fmla="*/ 107 w 1707"/>
              <a:gd name="T3" fmla="*/ 0 h 913"/>
              <a:gd name="T4" fmla="*/ 51 w 1707"/>
              <a:gd name="T5" fmla="*/ 136 h 913"/>
              <a:gd name="T6" fmla="*/ 797 w 1707"/>
              <a:gd name="T7" fmla="*/ 882 h 913"/>
              <a:gd name="T8" fmla="*/ 909 w 1707"/>
              <a:gd name="T9" fmla="*/ 882 h 913"/>
              <a:gd name="T10" fmla="*/ 1656 w 1707"/>
              <a:gd name="T11" fmla="*/ 136 h 913"/>
              <a:gd name="T12" fmla="*/ 1600 w 1707"/>
              <a:gd name="T13" fmla="*/ 0 h 9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707" h="913">
                <a:moveTo>
                  <a:pt x="1600" y="0"/>
                </a:moveTo>
                <a:lnTo>
                  <a:pt x="107" y="0"/>
                </a:lnTo>
                <a:cubicBezTo>
                  <a:pt x="36" y="0"/>
                  <a:pt x="0" y="85"/>
                  <a:pt x="51" y="136"/>
                </a:cubicBezTo>
                <a:lnTo>
                  <a:pt x="797" y="882"/>
                </a:lnTo>
                <a:cubicBezTo>
                  <a:pt x="828" y="913"/>
                  <a:pt x="879" y="913"/>
                  <a:pt x="909" y="882"/>
                </a:cubicBezTo>
                <a:lnTo>
                  <a:pt x="1656" y="136"/>
                </a:lnTo>
                <a:cubicBezTo>
                  <a:pt x="1707" y="85"/>
                  <a:pt x="1671" y="0"/>
                  <a:pt x="1600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pic>
        <p:nvPicPr>
          <p:cNvPr id="5" name="图片 4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2"/>
          <a:stretch>
            <a:fillRect/>
          </a:stretch>
        </p:blipFill>
        <p:spPr>
          <a:xfrm>
            <a:off x="1540510" y="1090930"/>
            <a:ext cx="8787130" cy="2475230"/>
          </a:xfrm>
          <a:prstGeom prst="rect">
            <a:avLst/>
          </a:prstGeom>
        </p:spPr>
      </p:pic>
      <p:sp>
        <p:nvSpPr>
          <p:cNvPr id="6" name="文本框 5"/>
          <p:cNvSpPr txBox="1"/>
          <p:nvPr/>
        </p:nvSpPr>
        <p:spPr>
          <a:xfrm>
            <a:off x="430530" y="4050665"/>
            <a:ext cx="1045845" cy="95313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 sz="2800" b="1">
                <a:latin typeface="宋体" panose="02010600030101010101" pitchFamily="2" charset="-122"/>
                <a:ea typeface="宋体" panose="02010600030101010101" pitchFamily="2" charset="-122"/>
              </a:rPr>
              <a:t>解析过程</a:t>
            </a:r>
            <a:endParaRPr lang="zh-CN" altLang="en-US" sz="2800" b="1">
              <a:latin typeface="宋体" panose="02010600030101010101" pitchFamily="2" charset="-122"/>
              <a:ea typeface="宋体" panose="02010600030101010101" pitchFamily="2" charset="-122"/>
            </a:endParaRPr>
          </a:p>
        </p:txBody>
      </p:sp>
      <p:cxnSp>
        <p:nvCxnSpPr>
          <p:cNvPr id="10" name="直接连接符 9"/>
          <p:cNvCxnSpPr/>
          <p:nvPr/>
        </p:nvCxnSpPr>
        <p:spPr>
          <a:xfrm>
            <a:off x="1630680" y="3477895"/>
            <a:ext cx="8255" cy="292925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文本框 17"/>
          <p:cNvSpPr txBox="1"/>
          <p:nvPr/>
        </p:nvSpPr>
        <p:spPr>
          <a:xfrm>
            <a:off x="430530" y="1640840"/>
            <a:ext cx="1045845" cy="52197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 sz="2800" b="1">
                <a:latin typeface="宋体" panose="02010600030101010101" pitchFamily="2" charset="-122"/>
                <a:ea typeface="宋体" panose="02010600030101010101" pitchFamily="2" charset="-122"/>
              </a:rPr>
              <a:t>法二</a:t>
            </a:r>
            <a:endParaRPr lang="zh-CN" altLang="en-US" sz="2800" b="1">
              <a:latin typeface="宋体" panose="02010600030101010101" pitchFamily="2" charset="-122"/>
              <a:ea typeface="宋体" panose="02010600030101010101" pitchFamily="2" charset="-122"/>
            </a:endParaRPr>
          </a:p>
        </p:txBody>
      </p:sp>
      <p:graphicFrame>
        <p:nvGraphicFramePr>
          <p:cNvPr id="3" name="对象 -2147482613"/>
          <p:cNvGraphicFramePr>
            <a:graphicFrameLocks noChangeAspect="1"/>
          </p:cNvGraphicFramePr>
          <p:nvPr/>
        </p:nvGraphicFramePr>
        <p:xfrm>
          <a:off x="1884680" y="4257675"/>
          <a:ext cx="6126480" cy="49466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6" name="" r:id="rId3" imgW="2691765" imgH="215900" progId="Equation.KSEE3">
                  <p:embed/>
                </p:oleObj>
              </mc:Choice>
              <mc:Fallback>
                <p:oleObj name="" r:id="rId3" imgW="2691765" imgH="215900" progId="Equation.KSEE3">
                  <p:embed/>
                  <p:pic>
                    <p:nvPicPr>
                      <p:cNvPr id="0" name="图片 3075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884680" y="4257675"/>
                        <a:ext cx="6126480" cy="494665"/>
                      </a:xfrm>
                      <a:prstGeom prst="rect">
                        <a:avLst/>
                      </a:prstGeom>
                      <a:noFill/>
                      <a:ln w="38100">
                        <a:noFill/>
                        <a:miter/>
                      </a:ln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8" name="对象 -2147482612"/>
          <p:cNvGraphicFramePr>
            <a:graphicFrameLocks noChangeAspect="1"/>
          </p:cNvGraphicFramePr>
          <p:nvPr/>
        </p:nvGraphicFramePr>
        <p:xfrm>
          <a:off x="1884680" y="4916170"/>
          <a:ext cx="4124960" cy="49339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" name="" r:id="rId5" imgW="1816100" imgH="215900" progId="Equation.KSEE3">
                  <p:embed/>
                </p:oleObj>
              </mc:Choice>
              <mc:Fallback>
                <p:oleObj name="" r:id="rId5" imgW="1816100" imgH="215900" progId="Equation.KSEE3">
                  <p:embed/>
                  <p:pic>
                    <p:nvPicPr>
                      <p:cNvPr id="0" name="图片 18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884680" y="4916170"/>
                        <a:ext cx="4124960" cy="493395"/>
                      </a:xfrm>
                      <a:prstGeom prst="rect">
                        <a:avLst/>
                      </a:prstGeom>
                      <a:noFill/>
                      <a:ln w="38100">
                        <a:noFill/>
                        <a:miter/>
                      </a:ln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0" name="图片 19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227060" y="3659505"/>
            <a:ext cx="3133725" cy="2733675"/>
          </a:xfrm>
          <a:prstGeom prst="rect">
            <a:avLst/>
          </a:prstGeom>
        </p:spPr>
      </p:pic>
      <p:cxnSp>
        <p:nvCxnSpPr>
          <p:cNvPr id="21" name="直接连接符 20"/>
          <p:cNvCxnSpPr/>
          <p:nvPr/>
        </p:nvCxnSpPr>
        <p:spPr>
          <a:xfrm flipV="1">
            <a:off x="8945245" y="5880735"/>
            <a:ext cx="1977390" cy="9525"/>
          </a:xfrm>
          <a:prstGeom prst="line">
            <a:avLst/>
          </a:prstGeom>
          <a:ln w="28575" cmpd="sng">
            <a:solidFill>
              <a:srgbClr val="A400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/>
        </p:nvCxnSpPr>
        <p:spPr>
          <a:xfrm flipV="1">
            <a:off x="8945245" y="5532755"/>
            <a:ext cx="1977390" cy="9525"/>
          </a:xfrm>
          <a:prstGeom prst="line">
            <a:avLst/>
          </a:prstGeom>
          <a:ln w="28575" cmpd="sng">
            <a:solidFill>
              <a:srgbClr val="A400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2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2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2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2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22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28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0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11094 0.002593 L -0.032969 -0.179074 " pathEditMode="relative" rAng="0" ptsTypes="">
                                      <p:cBhvr>
                                        <p:cTn id="32" dur="2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" y="-8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2000"/>
                            </p:stCondLst>
                            <p:childTnLst>
                              <p:par>
                                <p:cTn id="34" presetID="0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24844 -0.177593 L -0.000521 -0.001759 " pathEditMode="relative" ptsTypes="">
                                      <p:cBhvr>
                                        <p:cTn id="35" dur="2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直接连接符 10"/>
          <p:cNvCxnSpPr/>
          <p:nvPr/>
        </p:nvCxnSpPr>
        <p:spPr>
          <a:xfrm flipH="1">
            <a:off x="1907015" y="690880"/>
            <a:ext cx="9610" cy="5430515"/>
          </a:xfrm>
          <a:prstGeom prst="line">
            <a:avLst/>
          </a:prstGeom>
          <a:solidFill>
            <a:srgbClr val="FFCC00"/>
          </a:solidFill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2" name="poetry_91022"/>
          <p:cNvSpPr>
            <a:spLocks noChangeAspect="1"/>
          </p:cNvSpPr>
          <p:nvPr>
            <p:custDataLst>
              <p:tags r:id="rId1"/>
            </p:custDataLst>
          </p:nvPr>
        </p:nvSpPr>
        <p:spPr bwMode="auto">
          <a:xfrm>
            <a:off x="469265" y="5129001"/>
            <a:ext cx="898119" cy="1241320"/>
          </a:xfrm>
          <a:custGeom>
            <a:avLst/>
            <a:gdLst>
              <a:gd name="T0" fmla="*/ 3353 w 5127"/>
              <a:gd name="T1" fmla="*/ 1728 h 5401"/>
              <a:gd name="T2" fmla="*/ 2183 w 5127"/>
              <a:gd name="T3" fmla="*/ 1608 h 5401"/>
              <a:gd name="T4" fmla="*/ 3353 w 5127"/>
              <a:gd name="T5" fmla="*/ 1488 h 5401"/>
              <a:gd name="T6" fmla="*/ 3103 w 5127"/>
              <a:gd name="T7" fmla="*/ 2231 h 5401"/>
              <a:gd name="T8" fmla="*/ 3103 w 5127"/>
              <a:gd name="T9" fmla="*/ 1991 h 5401"/>
              <a:gd name="T10" fmla="*/ 2432 w 5127"/>
              <a:gd name="T11" fmla="*/ 2111 h 5401"/>
              <a:gd name="T12" fmla="*/ 3103 w 5127"/>
              <a:gd name="T13" fmla="*/ 2231 h 5401"/>
              <a:gd name="T14" fmla="*/ 3353 w 5127"/>
              <a:gd name="T15" fmla="*/ 2648 h 5401"/>
              <a:gd name="T16" fmla="*/ 2183 w 5127"/>
              <a:gd name="T17" fmla="*/ 2768 h 5401"/>
              <a:gd name="T18" fmla="*/ 3353 w 5127"/>
              <a:gd name="T19" fmla="*/ 2888 h 5401"/>
              <a:gd name="T20" fmla="*/ 2552 w 5127"/>
              <a:gd name="T21" fmla="*/ 3151 h 5401"/>
              <a:gd name="T22" fmla="*/ 2552 w 5127"/>
              <a:gd name="T23" fmla="*/ 3391 h 5401"/>
              <a:gd name="T24" fmla="*/ 3223 w 5127"/>
              <a:gd name="T25" fmla="*/ 3271 h 5401"/>
              <a:gd name="T26" fmla="*/ 2552 w 5127"/>
              <a:gd name="T27" fmla="*/ 3151 h 5401"/>
              <a:gd name="T28" fmla="*/ 4448 w 5127"/>
              <a:gd name="T29" fmla="*/ 1442 h 5401"/>
              <a:gd name="T30" fmla="*/ 4688 w 5127"/>
              <a:gd name="T31" fmla="*/ 1442 h 5401"/>
              <a:gd name="T32" fmla="*/ 3988 w 5127"/>
              <a:gd name="T33" fmla="*/ 0 h 5401"/>
              <a:gd name="T34" fmla="*/ 0 w 5127"/>
              <a:gd name="T35" fmla="*/ 604 h 5401"/>
              <a:gd name="T36" fmla="*/ 120 w 5127"/>
              <a:gd name="T37" fmla="*/ 1792 h 5401"/>
              <a:gd name="T38" fmla="*/ 686 w 5127"/>
              <a:gd name="T39" fmla="*/ 1672 h 5401"/>
              <a:gd name="T40" fmla="*/ 240 w 5127"/>
              <a:gd name="T41" fmla="*/ 1552 h 5401"/>
              <a:gd name="T42" fmla="*/ 604 w 5127"/>
              <a:gd name="T43" fmla="*/ 240 h 5401"/>
              <a:gd name="T44" fmla="*/ 968 w 5127"/>
              <a:gd name="T45" fmla="*/ 4179 h 5401"/>
              <a:gd name="T46" fmla="*/ 3904 w 5127"/>
              <a:gd name="T47" fmla="*/ 4879 h 5401"/>
              <a:gd name="T48" fmla="*/ 3904 w 5127"/>
              <a:gd name="T49" fmla="*/ 4639 h 5401"/>
              <a:gd name="T50" fmla="*/ 1208 w 5127"/>
              <a:gd name="T51" fmla="*/ 4179 h 5401"/>
              <a:gd name="T52" fmla="*/ 1086 w 5127"/>
              <a:gd name="T53" fmla="*/ 240 h 5401"/>
              <a:gd name="T54" fmla="*/ 4448 w 5127"/>
              <a:gd name="T55" fmla="*/ 700 h 5401"/>
              <a:gd name="T56" fmla="*/ 4568 w 5127"/>
              <a:gd name="T57" fmla="*/ 2000 h 5401"/>
              <a:gd name="T58" fmla="*/ 4568 w 5127"/>
              <a:gd name="T59" fmla="*/ 2240 h 5401"/>
              <a:gd name="T60" fmla="*/ 4887 w 5127"/>
              <a:gd name="T61" fmla="*/ 2340 h 5401"/>
              <a:gd name="T62" fmla="*/ 5007 w 5127"/>
              <a:gd name="T63" fmla="*/ 3838 h 5401"/>
              <a:gd name="T64" fmla="*/ 5127 w 5127"/>
              <a:gd name="T65" fmla="*/ 2340 h 5401"/>
              <a:gd name="T66" fmla="*/ 4568 w 5127"/>
              <a:gd name="T67" fmla="*/ 5139 h 5401"/>
              <a:gd name="T68" fmla="*/ 4448 w 5127"/>
              <a:gd name="T69" fmla="*/ 5281 h 5401"/>
              <a:gd name="T70" fmla="*/ 4688 w 5127"/>
              <a:gd name="T71" fmla="*/ 5281 h 5401"/>
              <a:gd name="T72" fmla="*/ 4568 w 5127"/>
              <a:gd name="T73" fmla="*/ 5139 h 5401"/>
              <a:gd name="T74" fmla="*/ 4448 w 5127"/>
              <a:gd name="T75" fmla="*/ 2559 h 5401"/>
              <a:gd name="T76" fmla="*/ 4568 w 5127"/>
              <a:gd name="T77" fmla="*/ 4974 h 5401"/>
              <a:gd name="T78" fmla="*/ 4688 w 5127"/>
              <a:gd name="T79" fmla="*/ 2559 h 54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5127" h="5401">
                <a:moveTo>
                  <a:pt x="3473" y="1608"/>
                </a:moveTo>
                <a:cubicBezTo>
                  <a:pt x="3473" y="1674"/>
                  <a:pt x="3419" y="1728"/>
                  <a:pt x="3353" y="1728"/>
                </a:cubicBezTo>
                <a:lnTo>
                  <a:pt x="2303" y="1728"/>
                </a:lnTo>
                <a:cubicBezTo>
                  <a:pt x="2236" y="1728"/>
                  <a:pt x="2183" y="1674"/>
                  <a:pt x="2183" y="1608"/>
                </a:cubicBezTo>
                <a:cubicBezTo>
                  <a:pt x="2183" y="1542"/>
                  <a:pt x="2236" y="1488"/>
                  <a:pt x="2303" y="1488"/>
                </a:cubicBezTo>
                <a:lnTo>
                  <a:pt x="3353" y="1488"/>
                </a:lnTo>
                <a:cubicBezTo>
                  <a:pt x="3419" y="1488"/>
                  <a:pt x="3473" y="1542"/>
                  <a:pt x="3473" y="1608"/>
                </a:cubicBezTo>
                <a:close/>
                <a:moveTo>
                  <a:pt x="3103" y="2231"/>
                </a:moveTo>
                <a:cubicBezTo>
                  <a:pt x="3170" y="2231"/>
                  <a:pt x="3223" y="2178"/>
                  <a:pt x="3223" y="2111"/>
                </a:cubicBezTo>
                <a:cubicBezTo>
                  <a:pt x="3223" y="2045"/>
                  <a:pt x="3170" y="1991"/>
                  <a:pt x="3103" y="1991"/>
                </a:cubicBezTo>
                <a:lnTo>
                  <a:pt x="2552" y="1991"/>
                </a:lnTo>
                <a:cubicBezTo>
                  <a:pt x="2486" y="1991"/>
                  <a:pt x="2432" y="2045"/>
                  <a:pt x="2432" y="2111"/>
                </a:cubicBezTo>
                <a:cubicBezTo>
                  <a:pt x="2432" y="2178"/>
                  <a:pt x="2486" y="2231"/>
                  <a:pt x="2552" y="2231"/>
                </a:cubicBezTo>
                <a:lnTo>
                  <a:pt x="3103" y="2231"/>
                </a:lnTo>
                <a:close/>
                <a:moveTo>
                  <a:pt x="3473" y="2768"/>
                </a:moveTo>
                <a:cubicBezTo>
                  <a:pt x="3473" y="2701"/>
                  <a:pt x="3419" y="2648"/>
                  <a:pt x="3353" y="2648"/>
                </a:cubicBezTo>
                <a:lnTo>
                  <a:pt x="2303" y="2648"/>
                </a:lnTo>
                <a:cubicBezTo>
                  <a:pt x="2236" y="2648"/>
                  <a:pt x="2183" y="2701"/>
                  <a:pt x="2183" y="2768"/>
                </a:cubicBezTo>
                <a:cubicBezTo>
                  <a:pt x="2183" y="2834"/>
                  <a:pt x="2236" y="2888"/>
                  <a:pt x="2303" y="2888"/>
                </a:cubicBezTo>
                <a:lnTo>
                  <a:pt x="3353" y="2888"/>
                </a:lnTo>
                <a:cubicBezTo>
                  <a:pt x="3419" y="2888"/>
                  <a:pt x="3473" y="2834"/>
                  <a:pt x="3473" y="2768"/>
                </a:cubicBezTo>
                <a:close/>
                <a:moveTo>
                  <a:pt x="2552" y="3151"/>
                </a:moveTo>
                <a:cubicBezTo>
                  <a:pt x="2486" y="3151"/>
                  <a:pt x="2432" y="3205"/>
                  <a:pt x="2432" y="3271"/>
                </a:cubicBezTo>
                <a:cubicBezTo>
                  <a:pt x="2432" y="3338"/>
                  <a:pt x="2486" y="3391"/>
                  <a:pt x="2552" y="3391"/>
                </a:cubicBezTo>
                <a:lnTo>
                  <a:pt x="3103" y="3391"/>
                </a:lnTo>
                <a:cubicBezTo>
                  <a:pt x="3170" y="3391"/>
                  <a:pt x="3223" y="3338"/>
                  <a:pt x="3223" y="3271"/>
                </a:cubicBezTo>
                <a:cubicBezTo>
                  <a:pt x="3223" y="3205"/>
                  <a:pt x="3170" y="3151"/>
                  <a:pt x="3103" y="3151"/>
                </a:cubicBezTo>
                <a:lnTo>
                  <a:pt x="2552" y="3151"/>
                </a:lnTo>
                <a:close/>
                <a:moveTo>
                  <a:pt x="4448" y="700"/>
                </a:moveTo>
                <a:lnTo>
                  <a:pt x="4448" y="1442"/>
                </a:lnTo>
                <a:cubicBezTo>
                  <a:pt x="4448" y="1509"/>
                  <a:pt x="4501" y="1562"/>
                  <a:pt x="4568" y="1562"/>
                </a:cubicBezTo>
                <a:cubicBezTo>
                  <a:pt x="4634" y="1562"/>
                  <a:pt x="4688" y="1509"/>
                  <a:pt x="4688" y="1442"/>
                </a:cubicBezTo>
                <a:lnTo>
                  <a:pt x="4688" y="700"/>
                </a:lnTo>
                <a:cubicBezTo>
                  <a:pt x="4688" y="314"/>
                  <a:pt x="4374" y="0"/>
                  <a:pt x="3988" y="0"/>
                </a:cubicBezTo>
                <a:lnTo>
                  <a:pt x="604" y="0"/>
                </a:lnTo>
                <a:cubicBezTo>
                  <a:pt x="271" y="0"/>
                  <a:pt x="0" y="271"/>
                  <a:pt x="0" y="604"/>
                </a:cubicBezTo>
                <a:lnTo>
                  <a:pt x="0" y="1672"/>
                </a:lnTo>
                <a:cubicBezTo>
                  <a:pt x="0" y="1738"/>
                  <a:pt x="53" y="1792"/>
                  <a:pt x="120" y="1792"/>
                </a:cubicBezTo>
                <a:lnTo>
                  <a:pt x="566" y="1792"/>
                </a:lnTo>
                <a:cubicBezTo>
                  <a:pt x="632" y="1792"/>
                  <a:pt x="686" y="1738"/>
                  <a:pt x="686" y="1672"/>
                </a:cubicBezTo>
                <a:cubicBezTo>
                  <a:pt x="686" y="1606"/>
                  <a:pt x="632" y="1552"/>
                  <a:pt x="566" y="1552"/>
                </a:cubicBezTo>
                <a:lnTo>
                  <a:pt x="240" y="1552"/>
                </a:lnTo>
                <a:lnTo>
                  <a:pt x="240" y="604"/>
                </a:lnTo>
                <a:cubicBezTo>
                  <a:pt x="240" y="403"/>
                  <a:pt x="403" y="240"/>
                  <a:pt x="604" y="240"/>
                </a:cubicBezTo>
                <a:cubicBezTo>
                  <a:pt x="805" y="240"/>
                  <a:pt x="968" y="403"/>
                  <a:pt x="968" y="604"/>
                </a:cubicBezTo>
                <a:lnTo>
                  <a:pt x="968" y="4179"/>
                </a:lnTo>
                <a:cubicBezTo>
                  <a:pt x="968" y="4565"/>
                  <a:pt x="1282" y="4879"/>
                  <a:pt x="1668" y="4879"/>
                </a:cubicBezTo>
                <a:lnTo>
                  <a:pt x="3904" y="4879"/>
                </a:lnTo>
                <a:cubicBezTo>
                  <a:pt x="3970" y="4879"/>
                  <a:pt x="4024" y="4825"/>
                  <a:pt x="4024" y="4759"/>
                </a:cubicBezTo>
                <a:cubicBezTo>
                  <a:pt x="4024" y="4693"/>
                  <a:pt x="3970" y="4639"/>
                  <a:pt x="3904" y="4639"/>
                </a:cubicBezTo>
                <a:lnTo>
                  <a:pt x="1668" y="4639"/>
                </a:lnTo>
                <a:cubicBezTo>
                  <a:pt x="1415" y="4639"/>
                  <a:pt x="1208" y="4433"/>
                  <a:pt x="1208" y="4179"/>
                </a:cubicBezTo>
                <a:lnTo>
                  <a:pt x="1208" y="604"/>
                </a:lnTo>
                <a:cubicBezTo>
                  <a:pt x="1208" y="468"/>
                  <a:pt x="1163" y="341"/>
                  <a:pt x="1086" y="240"/>
                </a:cubicBezTo>
                <a:lnTo>
                  <a:pt x="3988" y="240"/>
                </a:lnTo>
                <a:cubicBezTo>
                  <a:pt x="4241" y="240"/>
                  <a:pt x="4448" y="446"/>
                  <a:pt x="4448" y="700"/>
                </a:cubicBezTo>
                <a:close/>
                <a:moveTo>
                  <a:pt x="4787" y="2000"/>
                </a:moveTo>
                <a:lnTo>
                  <a:pt x="4568" y="2000"/>
                </a:lnTo>
                <a:cubicBezTo>
                  <a:pt x="4501" y="2000"/>
                  <a:pt x="4448" y="2054"/>
                  <a:pt x="4448" y="2120"/>
                </a:cubicBezTo>
                <a:cubicBezTo>
                  <a:pt x="4448" y="2187"/>
                  <a:pt x="4501" y="2240"/>
                  <a:pt x="4568" y="2240"/>
                </a:cubicBezTo>
                <a:lnTo>
                  <a:pt x="4787" y="2240"/>
                </a:lnTo>
                <a:cubicBezTo>
                  <a:pt x="4842" y="2240"/>
                  <a:pt x="4887" y="2285"/>
                  <a:pt x="4887" y="2340"/>
                </a:cubicBezTo>
                <a:lnTo>
                  <a:pt x="4887" y="3718"/>
                </a:lnTo>
                <a:cubicBezTo>
                  <a:pt x="4887" y="3785"/>
                  <a:pt x="4941" y="3838"/>
                  <a:pt x="5007" y="3838"/>
                </a:cubicBezTo>
                <a:cubicBezTo>
                  <a:pt x="5073" y="3838"/>
                  <a:pt x="5127" y="3785"/>
                  <a:pt x="5127" y="3718"/>
                </a:cubicBezTo>
                <a:lnTo>
                  <a:pt x="5127" y="2340"/>
                </a:lnTo>
                <a:cubicBezTo>
                  <a:pt x="5127" y="2153"/>
                  <a:pt x="4975" y="2000"/>
                  <a:pt x="4787" y="2000"/>
                </a:cubicBezTo>
                <a:close/>
                <a:moveTo>
                  <a:pt x="4568" y="5139"/>
                </a:moveTo>
                <a:cubicBezTo>
                  <a:pt x="4501" y="5139"/>
                  <a:pt x="4448" y="5193"/>
                  <a:pt x="4448" y="5259"/>
                </a:cubicBezTo>
                <a:lnTo>
                  <a:pt x="4448" y="5281"/>
                </a:lnTo>
                <a:cubicBezTo>
                  <a:pt x="4448" y="5347"/>
                  <a:pt x="4501" y="5401"/>
                  <a:pt x="4568" y="5401"/>
                </a:cubicBezTo>
                <a:cubicBezTo>
                  <a:pt x="4634" y="5401"/>
                  <a:pt x="4688" y="5347"/>
                  <a:pt x="4688" y="5281"/>
                </a:cubicBezTo>
                <a:lnTo>
                  <a:pt x="4688" y="5259"/>
                </a:lnTo>
                <a:cubicBezTo>
                  <a:pt x="4688" y="5193"/>
                  <a:pt x="4634" y="5139"/>
                  <a:pt x="4568" y="5139"/>
                </a:cubicBezTo>
                <a:close/>
                <a:moveTo>
                  <a:pt x="4568" y="2439"/>
                </a:moveTo>
                <a:cubicBezTo>
                  <a:pt x="4501" y="2439"/>
                  <a:pt x="4448" y="2492"/>
                  <a:pt x="4448" y="2559"/>
                </a:cubicBezTo>
                <a:lnTo>
                  <a:pt x="4448" y="4854"/>
                </a:lnTo>
                <a:cubicBezTo>
                  <a:pt x="4448" y="4920"/>
                  <a:pt x="4501" y="4974"/>
                  <a:pt x="4568" y="4974"/>
                </a:cubicBezTo>
                <a:cubicBezTo>
                  <a:pt x="4634" y="4974"/>
                  <a:pt x="4688" y="4920"/>
                  <a:pt x="4688" y="4854"/>
                </a:cubicBezTo>
                <a:lnTo>
                  <a:pt x="4688" y="2559"/>
                </a:lnTo>
                <a:cubicBezTo>
                  <a:pt x="4688" y="2492"/>
                  <a:pt x="4634" y="2439"/>
                  <a:pt x="4568" y="2439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txBody>
          <a:bodyPr/>
          <a:p>
            <a:endParaRPr lang="zh-CN" altLang="en-US" sz="1350">
              <a:cs typeface="+mn-ea"/>
              <a:sym typeface="+mn-lt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630555" y="1323975"/>
            <a:ext cx="736600" cy="2301240"/>
          </a:xfrm>
          <a:prstGeom prst="rect">
            <a:avLst/>
          </a:prstGeom>
          <a:noFill/>
        </p:spPr>
        <p:txBody>
          <a:bodyPr vert="eaVert" wrap="none" rtlCol="0">
            <a:spAutoFit/>
          </a:bodyPr>
          <a:p>
            <a:pPr algn="l"/>
            <a:r>
              <a:rPr lang="zh-CN" altLang="en-US" sz="3600"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sym typeface="+mn-ea"/>
              </a:rPr>
              <a:t>总 结 归 纳</a:t>
            </a:r>
            <a:endParaRPr lang="zh-CN" altLang="en-US" sz="3600"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sym typeface="+mn-ea"/>
            </a:endParaRPr>
          </a:p>
        </p:txBody>
      </p:sp>
      <p:sp>
        <p:nvSpPr>
          <p:cNvPr id="20" name="立方体 19"/>
          <p:cNvSpPr/>
          <p:nvPr>
            <p:custDataLst>
              <p:tags r:id="rId2"/>
            </p:custDataLst>
          </p:nvPr>
        </p:nvSpPr>
        <p:spPr>
          <a:xfrm>
            <a:off x="1988153" y="1983161"/>
            <a:ext cx="1471067" cy="3526696"/>
          </a:xfrm>
          <a:prstGeom prst="cube">
            <a:avLst>
              <a:gd name="adj" fmla="val 88345"/>
            </a:avLst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  <a:effectLst/>
        </p:spPr>
        <p:style>
          <a:lnRef idx="2">
            <a:srgbClr val="1F74AD">
              <a:shade val="50000"/>
            </a:srgbClr>
          </a:lnRef>
          <a:fillRef idx="1">
            <a:srgbClr val="1F74AD"/>
          </a:fillRef>
          <a:effectRef idx="0">
            <a:srgbClr val="1F74AD"/>
          </a:effectRef>
          <a:fontRef idx="minor">
            <a:sysClr val="window" lastClr="FFFFFF"/>
          </a:fontRef>
        </p:style>
        <p:txBody>
          <a:bodyPr anchor="ctr"/>
          <a:p>
            <a:pPr algn="ctr">
              <a:lnSpc>
                <a:spcPct val="120000"/>
              </a:lnSpc>
            </a:pPr>
            <a:endParaRPr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grpSp>
        <p:nvGrpSpPr>
          <p:cNvPr id="21" name="组合 20"/>
          <p:cNvGrpSpPr/>
          <p:nvPr/>
        </p:nvGrpSpPr>
        <p:grpSpPr>
          <a:xfrm>
            <a:off x="4238625" y="1379220"/>
            <a:ext cx="5832213" cy="416627"/>
            <a:chOff x="8624" y="2158"/>
            <a:chExt cx="9185" cy="656"/>
          </a:xfrm>
        </p:grpSpPr>
        <p:sp>
          <p:nvSpPr>
            <p:cNvPr id="5" name="椭圆 4"/>
            <p:cNvSpPr/>
            <p:nvPr>
              <p:custDataLst>
                <p:tags r:id="rId3"/>
              </p:custDataLst>
            </p:nvPr>
          </p:nvSpPr>
          <p:spPr bwMode="auto">
            <a:xfrm flipH="1">
              <a:off x="8624" y="2355"/>
              <a:ext cx="262" cy="262"/>
            </a:xfrm>
            <a:prstGeom prst="ellipse">
              <a:avLst/>
            </a:prstGeom>
            <a:solidFill>
              <a:schemeClr val="accent2">
                <a:lumMod val="20000"/>
                <a:lumOff val="80000"/>
              </a:schemeClr>
            </a:solidFill>
            <a:ln w="9525">
              <a:noFill/>
              <a:round/>
            </a:ln>
          </p:spPr>
          <p:txBody>
            <a:bodyPr anchor="ctr"/>
            <a:p>
              <a:pPr algn="ctr">
                <a:lnSpc>
                  <a:spcPct val="120000"/>
                </a:lnSpc>
              </a:pPr>
              <a:endParaRPr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endParaRPr>
            </a:p>
          </p:txBody>
        </p:sp>
        <p:sp>
          <p:nvSpPr>
            <p:cNvPr id="18" name="文本框 17"/>
            <p:cNvSpPr txBox="1"/>
            <p:nvPr>
              <p:custDataLst>
                <p:tags r:id="rId4"/>
              </p:custDataLst>
            </p:nvPr>
          </p:nvSpPr>
          <p:spPr bwMode="auto">
            <a:xfrm>
              <a:off x="9063" y="2158"/>
              <a:ext cx="8746" cy="656"/>
            </a:xfrm>
            <a:prstGeom prst="rect">
              <a:avLst/>
            </a:prstGeom>
            <a:noFill/>
          </p:spPr>
          <p:txBody>
            <a:bodyPr wrap="square" lIns="90000" tIns="46800" rIns="90000" bIns="0" anchor="b" anchorCtr="0"/>
            <a:p>
              <a:pPr>
                <a:lnSpc>
                  <a:spcPct val="130000"/>
                </a:lnSpc>
              </a:pPr>
              <a:r>
                <a:rPr lang="zh-CN" altLang="en-US" sz="2400" b="1" spc="300">
                  <a:ln>
                    <a:solidFill>
                      <a:schemeClr val="accent2">
                        <a:lumMod val="20000"/>
                        <a:lumOff val="80000"/>
                      </a:schemeClr>
                    </a:solidFill>
                  </a:ln>
                  <a:solidFill>
                    <a:schemeClr val="accent3">
                      <a:lumMod val="95000"/>
                      <a:lumOff val="5000"/>
                    </a:schemeClr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+mn-ea"/>
                  <a:sym typeface="Arial" panose="020B0604020202020204" pitchFamily="34" charset="0"/>
                </a:rPr>
                <a:t>巧妙转化，构造函数</a:t>
              </a:r>
              <a:endParaRPr lang="zh-CN" altLang="en-US" sz="2400" b="1" spc="300">
                <a:ln>
                  <a:solidFill>
                    <a:schemeClr val="accent2">
                      <a:lumMod val="20000"/>
                      <a:lumOff val="80000"/>
                    </a:schemeClr>
                  </a:solidFill>
                </a:ln>
                <a:solidFill>
                  <a:schemeClr val="accent3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+mn-ea"/>
                <a:sym typeface="Arial" panose="020B0604020202020204" pitchFamily="34" charset="0"/>
              </a:endParaRPr>
            </a:p>
          </p:txBody>
        </p:sp>
      </p:grpSp>
      <p:grpSp>
        <p:nvGrpSpPr>
          <p:cNvPr id="22" name="组合 21"/>
          <p:cNvGrpSpPr/>
          <p:nvPr/>
        </p:nvGrpSpPr>
        <p:grpSpPr>
          <a:xfrm>
            <a:off x="4262755" y="3625215"/>
            <a:ext cx="5808345" cy="416560"/>
            <a:chOff x="8886" y="3608"/>
            <a:chExt cx="9147" cy="656"/>
          </a:xfrm>
        </p:grpSpPr>
        <p:sp>
          <p:nvSpPr>
            <p:cNvPr id="10" name="椭圆 9"/>
            <p:cNvSpPr/>
            <p:nvPr>
              <p:custDataLst>
                <p:tags r:id="rId5"/>
              </p:custDataLst>
            </p:nvPr>
          </p:nvSpPr>
          <p:spPr bwMode="auto">
            <a:xfrm flipH="1">
              <a:off x="8886" y="3926"/>
              <a:ext cx="262" cy="262"/>
            </a:xfrm>
            <a:prstGeom prst="ellipse">
              <a:avLst/>
            </a:prstGeom>
            <a:solidFill>
              <a:schemeClr val="accent1">
                <a:lumMod val="40000"/>
                <a:lumOff val="60000"/>
              </a:schemeClr>
            </a:solidFill>
            <a:ln w="9525">
              <a:solidFill>
                <a:schemeClr val="accent1">
                  <a:lumMod val="60000"/>
                  <a:lumOff val="40000"/>
                </a:schemeClr>
              </a:solidFill>
              <a:round/>
            </a:ln>
          </p:spPr>
          <p:txBody>
            <a:bodyPr anchor="ctr"/>
            <a:p>
              <a:pPr algn="ctr">
                <a:lnSpc>
                  <a:spcPct val="120000"/>
                </a:lnSpc>
              </a:pPr>
              <a:endParaRPr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endParaRPr>
            </a:p>
          </p:txBody>
        </p:sp>
        <p:sp>
          <p:nvSpPr>
            <p:cNvPr id="16" name="文本框 15"/>
            <p:cNvSpPr txBox="1"/>
            <p:nvPr>
              <p:custDataLst>
                <p:tags r:id="rId6"/>
              </p:custDataLst>
            </p:nvPr>
          </p:nvSpPr>
          <p:spPr bwMode="auto">
            <a:xfrm>
              <a:off x="9287" y="3608"/>
              <a:ext cx="8746" cy="656"/>
            </a:xfrm>
            <a:prstGeom prst="rect">
              <a:avLst/>
            </a:prstGeom>
            <a:noFill/>
          </p:spPr>
          <p:txBody>
            <a:bodyPr wrap="square" lIns="90000" tIns="46800" rIns="90000" bIns="0" anchor="b" anchorCtr="0"/>
            <a:p>
              <a:pPr>
                <a:lnSpc>
                  <a:spcPct val="130000"/>
                </a:lnSpc>
              </a:pPr>
              <a:r>
                <a:rPr lang="zh-CN" altLang="en-US" sz="2400" b="1" spc="300">
                  <a:ln>
                    <a:solidFill>
                      <a:schemeClr val="accent2">
                        <a:lumMod val="20000"/>
                        <a:lumOff val="80000"/>
                      </a:schemeClr>
                    </a:solidFill>
                  </a:ln>
                  <a:solidFill>
                    <a:schemeClr val="accent3">
                      <a:lumMod val="95000"/>
                      <a:lumOff val="5000"/>
                    </a:schemeClr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+mn-ea"/>
                  <a:sym typeface="Arial" panose="020B0604020202020204" pitchFamily="34" charset="0"/>
                </a:rPr>
                <a:t>画出图象，平移分析</a:t>
              </a:r>
              <a:endParaRPr lang="zh-CN" altLang="en-US" sz="2400" b="1" spc="300">
                <a:ln>
                  <a:solidFill>
                    <a:schemeClr val="accent2">
                      <a:lumMod val="20000"/>
                      <a:lumOff val="80000"/>
                    </a:schemeClr>
                  </a:solidFill>
                </a:ln>
                <a:solidFill>
                  <a:schemeClr val="accent3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+mn-ea"/>
                <a:sym typeface="Arial" panose="020B0604020202020204" pitchFamily="34" charset="0"/>
              </a:endParaRPr>
            </a:p>
          </p:txBody>
        </p:sp>
      </p:grpSp>
      <p:sp>
        <p:nvSpPr>
          <p:cNvPr id="35" name="立方体 34"/>
          <p:cNvSpPr/>
          <p:nvPr>
            <p:custDataLst>
              <p:tags r:id="rId7"/>
            </p:custDataLst>
          </p:nvPr>
        </p:nvSpPr>
        <p:spPr>
          <a:xfrm>
            <a:off x="2356549" y="2334471"/>
            <a:ext cx="1324389" cy="3175386"/>
          </a:xfrm>
          <a:prstGeom prst="cube">
            <a:avLst>
              <a:gd name="adj" fmla="val 85731"/>
            </a:avLst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accent2">
                <a:lumMod val="40000"/>
                <a:lumOff val="60000"/>
              </a:schemeClr>
            </a:solidFill>
          </a:ln>
          <a:effectLst/>
        </p:spPr>
        <p:style>
          <a:lnRef idx="2">
            <a:srgbClr val="1F74AD">
              <a:shade val="50000"/>
            </a:srgbClr>
          </a:lnRef>
          <a:fillRef idx="1">
            <a:srgbClr val="1F74AD"/>
          </a:fillRef>
          <a:effectRef idx="0">
            <a:srgbClr val="1F74AD"/>
          </a:effectRef>
          <a:fontRef idx="minor">
            <a:sysClr val="window" lastClr="FFFFFF"/>
          </a:fontRef>
        </p:style>
        <p:txBody>
          <a:bodyPr anchor="ctr"/>
          <a:p>
            <a:pPr algn="ctr">
              <a:lnSpc>
                <a:spcPct val="120000"/>
              </a:lnSpc>
            </a:pPr>
            <a:endParaRPr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sp>
        <p:nvSpPr>
          <p:cNvPr id="36" name="立方体 35"/>
          <p:cNvSpPr/>
          <p:nvPr>
            <p:custDataLst>
              <p:tags r:id="rId8"/>
            </p:custDataLst>
          </p:nvPr>
        </p:nvSpPr>
        <p:spPr>
          <a:xfrm>
            <a:off x="2779965" y="2878251"/>
            <a:ext cx="1097576" cy="2631606"/>
          </a:xfrm>
          <a:prstGeom prst="cube">
            <a:avLst>
              <a:gd name="adj" fmla="val 85731"/>
            </a:avLst>
          </a:prstGeom>
          <a:solidFill>
            <a:schemeClr val="accent2">
              <a:lumMod val="75000"/>
            </a:schemeClr>
          </a:solidFill>
          <a:ln>
            <a:noFill/>
          </a:ln>
          <a:effectLst/>
        </p:spPr>
        <p:style>
          <a:lnRef idx="2">
            <a:srgbClr val="1F74AD">
              <a:shade val="50000"/>
            </a:srgbClr>
          </a:lnRef>
          <a:fillRef idx="1">
            <a:srgbClr val="1F74AD"/>
          </a:fillRef>
          <a:effectRef idx="0">
            <a:srgbClr val="1F74AD"/>
          </a:effectRef>
          <a:fontRef idx="minor">
            <a:sysClr val="window" lastClr="FFFFFF"/>
          </a:fontRef>
        </p:style>
        <p:txBody>
          <a:bodyPr anchor="ctr"/>
          <a:p>
            <a:pPr algn="ctr">
              <a:lnSpc>
                <a:spcPct val="120000"/>
              </a:lnSpc>
            </a:pPr>
            <a:endParaRPr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grpSp>
        <p:nvGrpSpPr>
          <p:cNvPr id="13" name="组合 12"/>
          <p:cNvGrpSpPr/>
          <p:nvPr/>
        </p:nvGrpSpPr>
        <p:grpSpPr>
          <a:xfrm>
            <a:off x="4404995" y="1922780"/>
            <a:ext cx="7430770" cy="1574800"/>
            <a:chOff x="6937" y="3028"/>
            <a:chExt cx="11702" cy="2480"/>
          </a:xfrm>
        </p:grpSpPr>
        <p:sp>
          <p:nvSpPr>
            <p:cNvPr id="19" name="文本框 18"/>
            <p:cNvSpPr txBox="1"/>
            <p:nvPr>
              <p:custDataLst>
                <p:tags r:id="rId9"/>
              </p:custDataLst>
            </p:nvPr>
          </p:nvSpPr>
          <p:spPr bwMode="auto">
            <a:xfrm>
              <a:off x="6937" y="3028"/>
              <a:ext cx="11484" cy="2481"/>
            </a:xfrm>
            <a:prstGeom prst="rect">
              <a:avLst/>
            </a:prstGeom>
            <a:noFill/>
          </p:spPr>
          <p:txBody>
            <a:bodyPr wrap="square" lIns="90000" tIns="0" rIns="90000" bIns="46800">
              <a:noAutofit/>
            </a:bodyPr>
            <a:p>
              <a:pPr>
                <a:lnSpc>
                  <a:spcPct val="120000"/>
                </a:lnSpc>
              </a:pPr>
              <a:r>
                <a:rPr lang="zh-CN" altLang="en-US" sz="2400" b="1" spc="150">
                  <a:latin typeface="宋体" panose="02010600030101010101" pitchFamily="2" charset="-122"/>
                  <a:ea typeface="宋体" panose="02010600030101010101" pitchFamily="2" charset="-122"/>
                  <a:sym typeface="Arial" panose="020B0604020202020204" pitchFamily="34" charset="0"/>
                </a:rPr>
                <a:t>一般地，含参函数     的零点就是对应方程</a:t>
              </a:r>
              <a:endParaRPr lang="zh-CN" altLang="en-US" sz="2400" b="1" spc="150">
                <a:latin typeface="宋体" panose="02010600030101010101" pitchFamily="2" charset="-122"/>
                <a:ea typeface="宋体" panose="02010600030101010101" pitchFamily="2" charset="-122"/>
                <a:sym typeface="Arial" panose="020B0604020202020204" pitchFamily="34" charset="0"/>
              </a:endParaRPr>
            </a:p>
            <a:p>
              <a:pPr>
                <a:lnSpc>
                  <a:spcPct val="120000"/>
                </a:lnSpc>
              </a:pPr>
              <a:r>
                <a:rPr lang="zh-CN" altLang="en-US" sz="2400" b="1" spc="150">
                  <a:latin typeface="宋体" panose="02010600030101010101" pitchFamily="2" charset="-122"/>
                  <a:ea typeface="宋体" panose="02010600030101010101" pitchFamily="2" charset="-122"/>
                  <a:sym typeface="Arial" panose="020B0604020202020204" pitchFamily="34" charset="0"/>
                </a:rPr>
                <a:t>       的根，对       进行变形，例如变形</a:t>
              </a:r>
              <a:endParaRPr lang="zh-CN" altLang="en-US" sz="2400" b="1" spc="150">
                <a:latin typeface="宋体" panose="02010600030101010101" pitchFamily="2" charset="-122"/>
                <a:ea typeface="宋体" panose="02010600030101010101" pitchFamily="2" charset="-122"/>
                <a:sym typeface="Arial" panose="020B0604020202020204" pitchFamily="34" charset="0"/>
              </a:endParaRPr>
            </a:p>
            <a:p>
              <a:pPr>
                <a:lnSpc>
                  <a:spcPct val="120000"/>
                </a:lnSpc>
              </a:pPr>
              <a:r>
                <a:rPr lang="zh-CN" altLang="en-US" sz="2400" b="1" spc="150">
                  <a:latin typeface="宋体" panose="02010600030101010101" pitchFamily="2" charset="-122"/>
                  <a:ea typeface="宋体" panose="02010600030101010101" pitchFamily="2" charset="-122"/>
                  <a:sym typeface="Arial" panose="020B0604020202020204" pitchFamily="34" charset="0"/>
                </a:rPr>
                <a:t>得          </a:t>
              </a:r>
              <a:r>
                <a:rPr lang="en-US" altLang="zh-CN" sz="2400" b="1" spc="150">
                  <a:latin typeface="宋体" panose="02010600030101010101" pitchFamily="2" charset="-122"/>
                  <a:ea typeface="宋体" panose="02010600030101010101" pitchFamily="2" charset="-122"/>
                  <a:sym typeface="Arial" panose="020B0604020202020204" pitchFamily="34" charset="0"/>
                </a:rPr>
                <a:t>,</a:t>
              </a:r>
              <a:r>
                <a:rPr lang="zh-CN" altLang="en-US" sz="2400" b="1" spc="150">
                  <a:latin typeface="宋体" panose="02010600030101010101" pitchFamily="2" charset="-122"/>
                  <a:ea typeface="宋体" panose="02010600030101010101" pitchFamily="2" charset="-122"/>
                  <a:sym typeface="Arial" panose="020B0604020202020204" pitchFamily="34" charset="0"/>
                </a:rPr>
                <a:t>然后构造两个函数       </a:t>
              </a:r>
              <a:r>
                <a:rPr lang="en-US" altLang="zh-CN" sz="2400" b="1" spc="150">
                  <a:latin typeface="宋体" panose="02010600030101010101" pitchFamily="2" charset="-122"/>
                  <a:ea typeface="宋体" panose="02010600030101010101" pitchFamily="2" charset="-122"/>
                  <a:sym typeface="Arial" panose="020B0604020202020204" pitchFamily="34" charset="0"/>
                </a:rPr>
                <a:t>,</a:t>
              </a:r>
              <a:endParaRPr lang="en-US" altLang="zh-CN" sz="2400" b="1" spc="150">
                <a:latin typeface="宋体" panose="02010600030101010101" pitchFamily="2" charset="-122"/>
                <a:ea typeface="宋体" panose="02010600030101010101" pitchFamily="2" charset="-122"/>
                <a:sym typeface="Arial" panose="020B0604020202020204" pitchFamily="34" charset="0"/>
              </a:endParaRPr>
            </a:p>
          </p:txBody>
        </p:sp>
        <p:graphicFrame>
          <p:nvGraphicFramePr>
            <p:cNvPr id="24" name="对象 23">
              <a:hlinkClick r:id="" action="ppaction://ole?verb="/>
            </p:cNvPr>
            <p:cNvGraphicFramePr>
              <a:graphicFrameLocks noChangeAspect="1"/>
            </p:cNvGraphicFramePr>
            <p:nvPr/>
          </p:nvGraphicFramePr>
          <p:xfrm>
            <a:off x="11251" y="3100"/>
            <a:ext cx="1149" cy="681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1025" name="" r:id="rId10" imgW="342900" imgH="203200" progId="Equation.KSEE3">
                    <p:embed/>
                  </p:oleObj>
                </mc:Choice>
                <mc:Fallback>
                  <p:oleObj name="" r:id="rId10" imgW="342900" imgH="203200" progId="Equation.KSEE3">
                    <p:embed/>
                    <p:pic>
                      <p:nvPicPr>
                        <p:cNvPr id="0" name="图片 1024"/>
                        <p:cNvPicPr/>
                        <p:nvPr/>
                      </p:nvPicPr>
                      <p:blipFill>
                        <a:blip r:embed="rId11"/>
                        <a:stretch>
                          <a:fillRect/>
                        </a:stretch>
                      </p:blipFill>
                      <p:spPr>
                        <a:xfrm>
                          <a:off x="11251" y="3100"/>
                          <a:ext cx="1149" cy="681"/>
                        </a:xfrm>
                        <a:prstGeom prst="rect">
                          <a:avLst/>
                        </a:prstGeom>
                      </p:spPr>
                    </p:pic>
                  </p:oleObj>
                </mc:Fallback>
              </mc:AlternateContent>
            </a:graphicData>
          </a:graphic>
        </p:graphicFrame>
        <p:graphicFrame>
          <p:nvGraphicFramePr>
            <p:cNvPr id="3" name="对象 2">
              <a:hlinkClick r:id="" action="ppaction://ole?verb="/>
            </p:cNvPr>
            <p:cNvGraphicFramePr>
              <a:graphicFrameLocks noChangeAspect="1"/>
            </p:cNvGraphicFramePr>
            <p:nvPr/>
          </p:nvGraphicFramePr>
          <p:xfrm>
            <a:off x="7114" y="3781"/>
            <a:ext cx="1915" cy="681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4" name="" r:id="rId12" imgW="571500" imgH="203200" progId="Equation.KSEE3">
                    <p:embed/>
                  </p:oleObj>
                </mc:Choice>
                <mc:Fallback>
                  <p:oleObj name="" r:id="rId12" imgW="571500" imgH="203200" progId="Equation.KSEE3">
                    <p:embed/>
                    <p:pic>
                      <p:nvPicPr>
                        <p:cNvPr id="0" name="图片 1024"/>
                        <p:cNvPicPr/>
                        <p:nvPr/>
                      </p:nvPicPr>
                      <p:blipFill>
                        <a:blip r:embed="rId13"/>
                        <a:stretch>
                          <a:fillRect/>
                        </a:stretch>
                      </p:blipFill>
                      <p:spPr>
                        <a:xfrm>
                          <a:off x="7114" y="3781"/>
                          <a:ext cx="1915" cy="681"/>
                        </a:xfrm>
                        <a:prstGeom prst="rect">
                          <a:avLst/>
                        </a:prstGeom>
                      </p:spPr>
                    </p:pic>
                  </p:oleObj>
                </mc:Fallback>
              </mc:AlternateContent>
            </a:graphicData>
          </a:graphic>
        </p:graphicFrame>
        <p:graphicFrame>
          <p:nvGraphicFramePr>
            <p:cNvPr id="6" name="对象 5">
              <a:hlinkClick r:id="" action="ppaction://ole?verb="/>
            </p:cNvPr>
            <p:cNvGraphicFramePr>
              <a:graphicFrameLocks noChangeAspect="1"/>
            </p:cNvGraphicFramePr>
            <p:nvPr/>
          </p:nvGraphicFramePr>
          <p:xfrm>
            <a:off x="10970" y="3781"/>
            <a:ext cx="1915" cy="681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7" name="" r:id="rId14" imgW="571500" imgH="203200" progId="Equation.KSEE3">
                    <p:embed/>
                  </p:oleObj>
                </mc:Choice>
                <mc:Fallback>
                  <p:oleObj name="" r:id="rId14" imgW="571500" imgH="203200" progId="Equation.KSEE3">
                    <p:embed/>
                    <p:pic>
                      <p:nvPicPr>
                        <p:cNvPr id="0" name="图片 1024"/>
                        <p:cNvPicPr/>
                        <p:nvPr/>
                      </p:nvPicPr>
                      <p:blipFill>
                        <a:blip r:embed="rId13"/>
                        <a:stretch>
                          <a:fillRect/>
                        </a:stretch>
                      </p:blipFill>
                      <p:spPr>
                        <a:xfrm>
                          <a:off x="10970" y="3781"/>
                          <a:ext cx="1915" cy="681"/>
                        </a:xfrm>
                        <a:prstGeom prst="rect">
                          <a:avLst/>
                        </a:prstGeom>
                      </p:spPr>
                    </p:pic>
                  </p:oleObj>
                </mc:Fallback>
              </mc:AlternateContent>
            </a:graphicData>
          </a:graphic>
        </p:graphicFrame>
        <p:graphicFrame>
          <p:nvGraphicFramePr>
            <p:cNvPr id="8" name="对象 7">
              <a:hlinkClick r:id="" action="ppaction://ole?verb="/>
            </p:cNvPr>
            <p:cNvGraphicFramePr>
              <a:graphicFrameLocks noChangeAspect="1"/>
            </p:cNvGraphicFramePr>
            <p:nvPr/>
          </p:nvGraphicFramePr>
          <p:xfrm>
            <a:off x="7549" y="4462"/>
            <a:ext cx="2809" cy="681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9" name="" r:id="rId15" imgW="838200" imgH="203200" progId="Equation.KSEE3">
                    <p:embed/>
                  </p:oleObj>
                </mc:Choice>
                <mc:Fallback>
                  <p:oleObj name="" r:id="rId15" imgW="838200" imgH="203200" progId="Equation.KSEE3">
                    <p:embed/>
                    <p:pic>
                      <p:nvPicPr>
                        <p:cNvPr id="0" name="图片 1024"/>
                        <p:cNvPicPr/>
                        <p:nvPr/>
                      </p:nvPicPr>
                      <p:blipFill>
                        <a:blip r:embed="rId16"/>
                        <a:stretch>
                          <a:fillRect/>
                        </a:stretch>
                      </p:blipFill>
                      <p:spPr>
                        <a:xfrm>
                          <a:off x="7549" y="4462"/>
                          <a:ext cx="2809" cy="681"/>
                        </a:xfrm>
                        <a:prstGeom prst="rect">
                          <a:avLst/>
                        </a:prstGeom>
                      </p:spPr>
                    </p:pic>
                  </p:oleObj>
                </mc:Fallback>
              </mc:AlternateContent>
            </a:graphicData>
          </a:graphic>
        </p:graphicFrame>
        <p:graphicFrame>
          <p:nvGraphicFramePr>
            <p:cNvPr id="26" name="对象 25">
              <a:hlinkClick r:id="" action="ppaction://ole?verb="/>
            </p:cNvPr>
            <p:cNvGraphicFramePr>
              <a:graphicFrameLocks noChangeAspect="1"/>
            </p:cNvGraphicFramePr>
            <p:nvPr/>
          </p:nvGraphicFramePr>
          <p:xfrm>
            <a:off x="14552" y="4462"/>
            <a:ext cx="2171" cy="681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27" name="" r:id="rId17" imgW="647700" imgH="203200" progId="Equation.KSEE3">
                    <p:embed/>
                  </p:oleObj>
                </mc:Choice>
                <mc:Fallback>
                  <p:oleObj name="" r:id="rId17" imgW="647700" imgH="203200" progId="Equation.KSEE3">
                    <p:embed/>
                    <p:pic>
                      <p:nvPicPr>
                        <p:cNvPr id="0" name="图片 1024"/>
                        <p:cNvPicPr/>
                        <p:nvPr/>
                      </p:nvPicPr>
                      <p:blipFill>
                        <a:blip r:embed="rId18"/>
                        <a:stretch>
                          <a:fillRect/>
                        </a:stretch>
                      </p:blipFill>
                      <p:spPr>
                        <a:xfrm>
                          <a:off x="14552" y="4462"/>
                          <a:ext cx="2171" cy="681"/>
                        </a:xfrm>
                        <a:prstGeom prst="rect">
                          <a:avLst/>
                        </a:prstGeom>
                      </p:spPr>
                    </p:pic>
                  </p:oleObj>
                </mc:Fallback>
              </mc:AlternateContent>
            </a:graphicData>
          </a:graphic>
        </p:graphicFrame>
        <p:graphicFrame>
          <p:nvGraphicFramePr>
            <p:cNvPr id="28" name="对象 27">
              <a:hlinkClick r:id="" action="ppaction://ole?verb="/>
            </p:cNvPr>
            <p:cNvGraphicFramePr>
              <a:graphicFrameLocks noChangeAspect="1"/>
            </p:cNvGraphicFramePr>
            <p:nvPr/>
          </p:nvGraphicFramePr>
          <p:xfrm>
            <a:off x="16723" y="4462"/>
            <a:ext cx="1917" cy="681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29" name="" r:id="rId19" imgW="571500" imgH="203200" progId="Equation.KSEE3">
                    <p:embed/>
                  </p:oleObj>
                </mc:Choice>
                <mc:Fallback>
                  <p:oleObj name="" r:id="rId19" imgW="571500" imgH="203200" progId="Equation.KSEE3">
                    <p:embed/>
                    <p:pic>
                      <p:nvPicPr>
                        <p:cNvPr id="0" name="图片 1024"/>
                        <p:cNvPicPr/>
                        <p:nvPr/>
                      </p:nvPicPr>
                      <p:blipFill>
                        <a:blip r:embed="rId20"/>
                        <a:stretch>
                          <a:fillRect/>
                        </a:stretch>
                      </p:blipFill>
                      <p:spPr>
                        <a:xfrm>
                          <a:off x="16723" y="4462"/>
                          <a:ext cx="1917" cy="681"/>
                        </a:xfrm>
                        <a:prstGeom prst="rect">
                          <a:avLst/>
                        </a:prstGeom>
                      </p:spPr>
                    </p:pic>
                  </p:oleObj>
                </mc:Fallback>
              </mc:AlternateContent>
            </a:graphicData>
          </a:graphic>
        </p:graphicFrame>
      </p:grpSp>
      <p:grpSp>
        <p:nvGrpSpPr>
          <p:cNvPr id="14" name="组合 13"/>
          <p:cNvGrpSpPr/>
          <p:nvPr/>
        </p:nvGrpSpPr>
        <p:grpSpPr>
          <a:xfrm>
            <a:off x="4581525" y="4119880"/>
            <a:ext cx="7115810" cy="1389380"/>
            <a:chOff x="7215" y="6488"/>
            <a:chExt cx="11206" cy="2188"/>
          </a:xfrm>
        </p:grpSpPr>
        <p:sp>
          <p:nvSpPr>
            <p:cNvPr id="17" name="文本框 16"/>
            <p:cNvSpPr txBox="1"/>
            <p:nvPr>
              <p:custDataLst>
                <p:tags r:id="rId21"/>
              </p:custDataLst>
            </p:nvPr>
          </p:nvSpPr>
          <p:spPr bwMode="auto">
            <a:xfrm>
              <a:off x="7215" y="6488"/>
              <a:ext cx="11206" cy="2189"/>
            </a:xfrm>
            <a:prstGeom prst="rect">
              <a:avLst/>
            </a:prstGeom>
            <a:noFill/>
          </p:spPr>
          <p:txBody>
            <a:bodyPr wrap="square" lIns="90000" tIns="0" rIns="90000" bIns="46800">
              <a:noAutofit/>
            </a:bodyPr>
            <a:p>
              <a:pPr>
                <a:lnSpc>
                  <a:spcPct val="120000"/>
                </a:lnSpc>
              </a:pPr>
              <a:r>
                <a:rPr lang="zh-CN" altLang="en-US" sz="2400" b="1" spc="150">
                  <a:latin typeface="宋体" panose="02010600030101010101" pitchFamily="2" charset="-122"/>
                  <a:ea typeface="宋体" panose="02010600030101010101" pitchFamily="2" charset="-122"/>
                  <a:sym typeface="Arial" panose="020B0604020202020204" pitchFamily="34" charset="0"/>
                </a:rPr>
                <a:t>在同一坐标系内，先分别画出两个函数图象</a:t>
              </a:r>
              <a:endParaRPr lang="zh-CN" altLang="en-US" sz="2400" b="1" spc="150">
                <a:latin typeface="宋体" panose="02010600030101010101" pitchFamily="2" charset="-122"/>
                <a:ea typeface="宋体" panose="02010600030101010101" pitchFamily="2" charset="-122"/>
                <a:sym typeface="Arial" panose="020B0604020202020204" pitchFamily="34" charset="0"/>
              </a:endParaRPr>
            </a:p>
            <a:p>
              <a:pPr>
                <a:lnSpc>
                  <a:spcPct val="120000"/>
                </a:lnSpc>
              </a:pPr>
              <a:r>
                <a:rPr lang="zh-CN" altLang="en-US" sz="2400" b="1" spc="150">
                  <a:latin typeface="宋体" panose="02010600030101010101" pitchFamily="2" charset="-122"/>
                  <a:ea typeface="宋体" panose="02010600030101010101" pitchFamily="2" charset="-122"/>
                  <a:sym typeface="Arial" panose="020B0604020202020204" pitchFamily="34" charset="0"/>
                </a:rPr>
                <a:t>        ，      的图象，对直线     进</a:t>
              </a:r>
              <a:endParaRPr lang="zh-CN" altLang="en-US" sz="2400" b="1" spc="150">
                <a:latin typeface="宋体" panose="02010600030101010101" pitchFamily="2" charset="-122"/>
                <a:ea typeface="宋体" panose="02010600030101010101" pitchFamily="2" charset="-122"/>
                <a:sym typeface="Arial" panose="020B0604020202020204" pitchFamily="34" charset="0"/>
              </a:endParaRPr>
            </a:p>
            <a:p>
              <a:pPr>
                <a:lnSpc>
                  <a:spcPct val="120000"/>
                </a:lnSpc>
              </a:pPr>
              <a:r>
                <a:rPr lang="zh-CN" altLang="en-US" sz="2400" b="1" spc="150">
                  <a:latin typeface="宋体" panose="02010600030101010101" pitchFamily="2" charset="-122"/>
                  <a:ea typeface="宋体" panose="02010600030101010101" pitchFamily="2" charset="-122"/>
                  <a:sym typeface="Arial" panose="020B0604020202020204" pitchFamily="34" charset="0"/>
                </a:rPr>
                <a:t>行平移，结合题目要求确定参数的取值范围</a:t>
              </a:r>
              <a:endParaRPr lang="zh-CN" altLang="en-US" sz="2400" b="1" spc="150">
                <a:latin typeface="宋体" panose="02010600030101010101" pitchFamily="2" charset="-122"/>
                <a:ea typeface="宋体" panose="02010600030101010101" pitchFamily="2" charset="-122"/>
                <a:sym typeface="Arial" panose="020B0604020202020204" pitchFamily="34" charset="0"/>
              </a:endParaRPr>
            </a:p>
          </p:txBody>
        </p:sp>
        <p:graphicFrame>
          <p:nvGraphicFramePr>
            <p:cNvPr id="30" name="对象 29">
              <a:hlinkClick r:id="" action="ppaction://ole?verb="/>
            </p:cNvPr>
            <p:cNvGraphicFramePr>
              <a:graphicFrameLocks noChangeAspect="1"/>
            </p:cNvGraphicFramePr>
            <p:nvPr/>
          </p:nvGraphicFramePr>
          <p:xfrm>
            <a:off x="7344" y="7235"/>
            <a:ext cx="2171" cy="681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31" name="" r:id="rId22" imgW="647700" imgH="203200" progId="Equation.KSEE3">
                    <p:embed/>
                  </p:oleObj>
                </mc:Choice>
                <mc:Fallback>
                  <p:oleObj name="" r:id="rId22" imgW="647700" imgH="203200" progId="Equation.KSEE3">
                    <p:embed/>
                    <p:pic>
                      <p:nvPicPr>
                        <p:cNvPr id="0" name="图片 1024"/>
                        <p:cNvPicPr/>
                        <p:nvPr/>
                      </p:nvPicPr>
                      <p:blipFill>
                        <a:blip r:embed="rId18"/>
                        <a:stretch>
                          <a:fillRect/>
                        </a:stretch>
                      </p:blipFill>
                      <p:spPr>
                        <a:xfrm>
                          <a:off x="7344" y="7235"/>
                          <a:ext cx="2171" cy="681"/>
                        </a:xfrm>
                        <a:prstGeom prst="rect">
                          <a:avLst/>
                        </a:prstGeom>
                      </p:spPr>
                    </p:pic>
                  </p:oleObj>
                </mc:Fallback>
              </mc:AlternateContent>
            </a:graphicData>
          </a:graphic>
        </p:graphicFrame>
        <p:graphicFrame>
          <p:nvGraphicFramePr>
            <p:cNvPr id="32" name="对象 31">
              <a:hlinkClick r:id="" action="ppaction://ole?verb="/>
            </p:cNvPr>
            <p:cNvGraphicFramePr>
              <a:graphicFrameLocks noChangeAspect="1"/>
            </p:cNvGraphicFramePr>
            <p:nvPr/>
          </p:nvGraphicFramePr>
          <p:xfrm>
            <a:off x="9918" y="7235"/>
            <a:ext cx="1917" cy="681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33" name="" r:id="rId23" imgW="571500" imgH="203200" progId="Equation.KSEE3">
                    <p:embed/>
                  </p:oleObj>
                </mc:Choice>
                <mc:Fallback>
                  <p:oleObj name="" r:id="rId23" imgW="571500" imgH="203200" progId="Equation.KSEE3">
                    <p:embed/>
                    <p:pic>
                      <p:nvPicPr>
                        <p:cNvPr id="0" name="图片 1024"/>
                        <p:cNvPicPr/>
                        <p:nvPr/>
                      </p:nvPicPr>
                      <p:blipFill>
                        <a:blip r:embed="rId24"/>
                        <a:stretch>
                          <a:fillRect/>
                        </a:stretch>
                      </p:blipFill>
                      <p:spPr>
                        <a:xfrm>
                          <a:off x="9918" y="7235"/>
                          <a:ext cx="1917" cy="681"/>
                        </a:xfrm>
                        <a:prstGeom prst="rect">
                          <a:avLst/>
                        </a:prstGeom>
                      </p:spPr>
                    </p:pic>
                  </p:oleObj>
                </mc:Fallback>
              </mc:AlternateContent>
            </a:graphicData>
          </a:graphic>
        </p:graphicFrame>
        <p:graphicFrame>
          <p:nvGraphicFramePr>
            <p:cNvPr id="34" name="对象 33">
              <a:hlinkClick r:id="" action="ppaction://ole?verb="/>
            </p:cNvPr>
            <p:cNvGraphicFramePr>
              <a:graphicFrameLocks noChangeAspect="1"/>
            </p:cNvGraphicFramePr>
            <p:nvPr/>
          </p:nvGraphicFramePr>
          <p:xfrm>
            <a:off x="15275" y="7235"/>
            <a:ext cx="1448" cy="681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37" name="" r:id="rId25" imgW="431800" imgH="203200" progId="Equation.KSEE3">
                    <p:embed/>
                  </p:oleObj>
                </mc:Choice>
                <mc:Fallback>
                  <p:oleObj name="" r:id="rId25" imgW="431800" imgH="203200" progId="Equation.KSEE3">
                    <p:embed/>
                    <p:pic>
                      <p:nvPicPr>
                        <p:cNvPr id="0" name="图片 1024"/>
                        <p:cNvPicPr/>
                        <p:nvPr/>
                      </p:nvPicPr>
                      <p:blipFill>
                        <a:blip r:embed="rId26"/>
                        <a:stretch>
                          <a:fillRect/>
                        </a:stretch>
                      </p:blipFill>
                      <p:spPr>
                        <a:xfrm>
                          <a:off x="15275" y="7235"/>
                          <a:ext cx="1448" cy="681"/>
                        </a:xfrm>
                        <a:prstGeom prst="rect">
                          <a:avLst/>
                        </a:prstGeom>
                      </p:spPr>
                    </p:pic>
                  </p:oleObj>
                </mc:Fallback>
              </mc:AlternateContent>
            </a:graphicData>
          </a:graphic>
        </p:graphicFrame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2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20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2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2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2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20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4" name="五边形 3"/>
          <p:cNvSpPr/>
          <p:nvPr/>
        </p:nvSpPr>
        <p:spPr>
          <a:xfrm>
            <a:off x="589915" y="404495"/>
            <a:ext cx="4131945" cy="619125"/>
          </a:xfrm>
          <a:prstGeom prst="homePlat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p>
            <a:r>
              <a:rPr lang="zh-CN">
                <a:sym typeface="+mn-ea"/>
              </a:rPr>
              <a:t>典型例题</a:t>
            </a:r>
            <a:r>
              <a:rPr lang="en-US" altLang="zh-CN">
                <a:sym typeface="+mn-ea"/>
              </a:rPr>
              <a:t>3</a:t>
            </a:r>
            <a:r>
              <a:rPr lang="en-US" altLang="zh-CN">
                <a:sym typeface="+mn-ea"/>
              </a:rPr>
              <a:t>·2018</a:t>
            </a:r>
            <a:r>
              <a:rPr lang="zh-CN">
                <a:sym typeface="+mn-ea"/>
              </a:rPr>
              <a:t>天津卷</a:t>
            </a:r>
            <a:endParaRPr lang="zh-CN"/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1476375" y="1261745"/>
            <a:ext cx="9568180" cy="1539240"/>
          </a:xfrm>
          <a:prstGeom prst="rect">
            <a:avLst/>
          </a:prstGeom>
        </p:spPr>
      </p:pic>
      <p:sp>
        <p:nvSpPr>
          <p:cNvPr id="9" name="three-books_73757"/>
          <p:cNvSpPr>
            <a:spLocks noChangeAspect="1"/>
          </p:cNvSpPr>
          <p:nvPr/>
        </p:nvSpPr>
        <p:spPr bwMode="auto">
          <a:xfrm>
            <a:off x="11582358" y="6383442"/>
            <a:ext cx="609685" cy="474136"/>
          </a:xfrm>
          <a:custGeom>
            <a:avLst/>
            <a:gdLst>
              <a:gd name="T0" fmla="*/ 2471 w 2903"/>
              <a:gd name="T1" fmla="*/ 1598 h 2261"/>
              <a:gd name="T2" fmla="*/ 2471 w 2903"/>
              <a:gd name="T3" fmla="*/ 2127 h 2261"/>
              <a:gd name="T4" fmla="*/ 2505 w 2903"/>
              <a:gd name="T5" fmla="*/ 2127 h 2261"/>
              <a:gd name="T6" fmla="*/ 2572 w 2903"/>
              <a:gd name="T7" fmla="*/ 2194 h 2261"/>
              <a:gd name="T8" fmla="*/ 2505 w 2903"/>
              <a:gd name="T9" fmla="*/ 2261 h 2261"/>
              <a:gd name="T10" fmla="*/ 2405 w 2903"/>
              <a:gd name="T11" fmla="*/ 2261 h 2261"/>
              <a:gd name="T12" fmla="*/ 2124 w 2903"/>
              <a:gd name="T13" fmla="*/ 2261 h 2261"/>
              <a:gd name="T14" fmla="*/ 398 w 2903"/>
              <a:gd name="T15" fmla="*/ 2261 h 2261"/>
              <a:gd name="T16" fmla="*/ 0 w 2903"/>
              <a:gd name="T17" fmla="*/ 1863 h 2261"/>
              <a:gd name="T18" fmla="*/ 398 w 2903"/>
              <a:gd name="T19" fmla="*/ 1465 h 2261"/>
              <a:gd name="T20" fmla="*/ 2124 w 2903"/>
              <a:gd name="T21" fmla="*/ 1465 h 2261"/>
              <a:gd name="T22" fmla="*/ 2405 w 2903"/>
              <a:gd name="T23" fmla="*/ 1465 h 2261"/>
              <a:gd name="T24" fmla="*/ 2505 w 2903"/>
              <a:gd name="T25" fmla="*/ 1465 h 2261"/>
              <a:gd name="T26" fmla="*/ 2572 w 2903"/>
              <a:gd name="T27" fmla="*/ 1532 h 2261"/>
              <a:gd name="T28" fmla="*/ 2505 w 2903"/>
              <a:gd name="T29" fmla="*/ 1598 h 2261"/>
              <a:gd name="T30" fmla="*/ 2471 w 2903"/>
              <a:gd name="T31" fmla="*/ 1598 h 2261"/>
              <a:gd name="T32" fmla="*/ 2836 w 2903"/>
              <a:gd name="T33" fmla="*/ 1195 h 2261"/>
              <a:gd name="T34" fmla="*/ 2786 w 2903"/>
              <a:gd name="T35" fmla="*/ 1195 h 2261"/>
              <a:gd name="T36" fmla="*/ 2786 w 2903"/>
              <a:gd name="T37" fmla="*/ 786 h 2261"/>
              <a:gd name="T38" fmla="*/ 2836 w 2903"/>
              <a:gd name="T39" fmla="*/ 786 h 2261"/>
              <a:gd name="T40" fmla="*/ 2903 w 2903"/>
              <a:gd name="T41" fmla="*/ 720 h 2261"/>
              <a:gd name="T42" fmla="*/ 2836 w 2903"/>
              <a:gd name="T43" fmla="*/ 653 h 2261"/>
              <a:gd name="T44" fmla="*/ 2720 w 2903"/>
              <a:gd name="T45" fmla="*/ 653 h 2261"/>
              <a:gd name="T46" fmla="*/ 2455 w 2903"/>
              <a:gd name="T47" fmla="*/ 653 h 2261"/>
              <a:gd name="T48" fmla="*/ 1005 w 2903"/>
              <a:gd name="T49" fmla="*/ 653 h 2261"/>
              <a:gd name="T50" fmla="*/ 668 w 2903"/>
              <a:gd name="T51" fmla="*/ 991 h 2261"/>
              <a:gd name="T52" fmla="*/ 1005 w 2903"/>
              <a:gd name="T53" fmla="*/ 1328 h 2261"/>
              <a:gd name="T54" fmla="*/ 2455 w 2903"/>
              <a:gd name="T55" fmla="*/ 1328 h 2261"/>
              <a:gd name="T56" fmla="*/ 2720 w 2903"/>
              <a:gd name="T57" fmla="*/ 1328 h 2261"/>
              <a:gd name="T58" fmla="*/ 2836 w 2903"/>
              <a:gd name="T59" fmla="*/ 1328 h 2261"/>
              <a:gd name="T60" fmla="*/ 2903 w 2903"/>
              <a:gd name="T61" fmla="*/ 1262 h 2261"/>
              <a:gd name="T62" fmla="*/ 2836 w 2903"/>
              <a:gd name="T63" fmla="*/ 1195 h 2261"/>
              <a:gd name="T64" fmla="*/ 226 w 2903"/>
              <a:gd name="T65" fmla="*/ 405 h 2261"/>
              <a:gd name="T66" fmla="*/ 159 w 2903"/>
              <a:gd name="T67" fmla="*/ 472 h 2261"/>
              <a:gd name="T68" fmla="*/ 226 w 2903"/>
              <a:gd name="T69" fmla="*/ 539 h 2261"/>
              <a:gd name="T70" fmla="*/ 323 w 2903"/>
              <a:gd name="T71" fmla="*/ 539 h 2261"/>
              <a:gd name="T72" fmla="*/ 671 w 2903"/>
              <a:gd name="T73" fmla="*/ 539 h 2261"/>
              <a:gd name="T74" fmla="*/ 2248 w 2903"/>
              <a:gd name="T75" fmla="*/ 539 h 2261"/>
              <a:gd name="T76" fmla="*/ 2517 w 2903"/>
              <a:gd name="T77" fmla="*/ 269 h 2261"/>
              <a:gd name="T78" fmla="*/ 2248 w 2903"/>
              <a:gd name="T79" fmla="*/ 0 h 2261"/>
              <a:gd name="T80" fmla="*/ 671 w 2903"/>
              <a:gd name="T81" fmla="*/ 0 h 2261"/>
              <a:gd name="T82" fmla="*/ 323 w 2903"/>
              <a:gd name="T83" fmla="*/ 0 h 2261"/>
              <a:gd name="T84" fmla="*/ 226 w 2903"/>
              <a:gd name="T85" fmla="*/ 0 h 2261"/>
              <a:gd name="T86" fmla="*/ 159 w 2903"/>
              <a:gd name="T87" fmla="*/ 66 h 2261"/>
              <a:gd name="T88" fmla="*/ 226 w 2903"/>
              <a:gd name="T89" fmla="*/ 133 h 2261"/>
              <a:gd name="T90" fmla="*/ 257 w 2903"/>
              <a:gd name="T91" fmla="*/ 133 h 2261"/>
              <a:gd name="T92" fmla="*/ 257 w 2903"/>
              <a:gd name="T93" fmla="*/ 405 h 2261"/>
              <a:gd name="T94" fmla="*/ 226 w 2903"/>
              <a:gd name="T95" fmla="*/ 405 h 22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2903" h="2261">
                <a:moveTo>
                  <a:pt x="2471" y="1598"/>
                </a:moveTo>
                <a:lnTo>
                  <a:pt x="2471" y="2127"/>
                </a:lnTo>
                <a:lnTo>
                  <a:pt x="2505" y="2127"/>
                </a:lnTo>
                <a:cubicBezTo>
                  <a:pt x="2542" y="2127"/>
                  <a:pt x="2572" y="2157"/>
                  <a:pt x="2572" y="2194"/>
                </a:cubicBezTo>
                <a:cubicBezTo>
                  <a:pt x="2572" y="2231"/>
                  <a:pt x="2542" y="2261"/>
                  <a:pt x="2505" y="2261"/>
                </a:cubicBezTo>
                <a:lnTo>
                  <a:pt x="2405" y="2261"/>
                </a:lnTo>
                <a:lnTo>
                  <a:pt x="2124" y="2261"/>
                </a:lnTo>
                <a:lnTo>
                  <a:pt x="398" y="2261"/>
                </a:lnTo>
                <a:cubicBezTo>
                  <a:pt x="178" y="2261"/>
                  <a:pt x="0" y="2082"/>
                  <a:pt x="0" y="1863"/>
                </a:cubicBezTo>
                <a:cubicBezTo>
                  <a:pt x="0" y="1643"/>
                  <a:pt x="178" y="1465"/>
                  <a:pt x="398" y="1465"/>
                </a:cubicBezTo>
                <a:lnTo>
                  <a:pt x="2124" y="1465"/>
                </a:lnTo>
                <a:lnTo>
                  <a:pt x="2405" y="1465"/>
                </a:lnTo>
                <a:lnTo>
                  <a:pt x="2505" y="1465"/>
                </a:lnTo>
                <a:cubicBezTo>
                  <a:pt x="2542" y="1465"/>
                  <a:pt x="2572" y="1495"/>
                  <a:pt x="2572" y="1532"/>
                </a:cubicBezTo>
                <a:cubicBezTo>
                  <a:pt x="2572" y="1568"/>
                  <a:pt x="2542" y="1598"/>
                  <a:pt x="2505" y="1598"/>
                </a:cubicBezTo>
                <a:lnTo>
                  <a:pt x="2471" y="1598"/>
                </a:lnTo>
                <a:close/>
                <a:moveTo>
                  <a:pt x="2836" y="1195"/>
                </a:moveTo>
                <a:lnTo>
                  <a:pt x="2786" y="1195"/>
                </a:lnTo>
                <a:lnTo>
                  <a:pt x="2786" y="786"/>
                </a:lnTo>
                <a:lnTo>
                  <a:pt x="2836" y="786"/>
                </a:lnTo>
                <a:cubicBezTo>
                  <a:pt x="2873" y="786"/>
                  <a:pt x="2903" y="757"/>
                  <a:pt x="2903" y="720"/>
                </a:cubicBezTo>
                <a:cubicBezTo>
                  <a:pt x="2903" y="683"/>
                  <a:pt x="2873" y="653"/>
                  <a:pt x="2836" y="653"/>
                </a:cubicBezTo>
                <a:lnTo>
                  <a:pt x="2720" y="653"/>
                </a:lnTo>
                <a:lnTo>
                  <a:pt x="2455" y="653"/>
                </a:lnTo>
                <a:lnTo>
                  <a:pt x="1005" y="653"/>
                </a:lnTo>
                <a:cubicBezTo>
                  <a:pt x="819" y="653"/>
                  <a:pt x="668" y="805"/>
                  <a:pt x="668" y="991"/>
                </a:cubicBezTo>
                <a:cubicBezTo>
                  <a:pt x="668" y="1177"/>
                  <a:pt x="819" y="1328"/>
                  <a:pt x="1005" y="1328"/>
                </a:cubicBezTo>
                <a:lnTo>
                  <a:pt x="2455" y="1328"/>
                </a:lnTo>
                <a:lnTo>
                  <a:pt x="2720" y="1328"/>
                </a:lnTo>
                <a:lnTo>
                  <a:pt x="2836" y="1328"/>
                </a:lnTo>
                <a:cubicBezTo>
                  <a:pt x="2873" y="1328"/>
                  <a:pt x="2903" y="1299"/>
                  <a:pt x="2903" y="1262"/>
                </a:cubicBezTo>
                <a:cubicBezTo>
                  <a:pt x="2903" y="1225"/>
                  <a:pt x="2873" y="1195"/>
                  <a:pt x="2836" y="1195"/>
                </a:cubicBezTo>
                <a:close/>
                <a:moveTo>
                  <a:pt x="226" y="405"/>
                </a:moveTo>
                <a:cubicBezTo>
                  <a:pt x="189" y="405"/>
                  <a:pt x="159" y="435"/>
                  <a:pt x="159" y="472"/>
                </a:cubicBezTo>
                <a:cubicBezTo>
                  <a:pt x="159" y="509"/>
                  <a:pt x="189" y="539"/>
                  <a:pt x="226" y="539"/>
                </a:cubicBezTo>
                <a:lnTo>
                  <a:pt x="323" y="539"/>
                </a:lnTo>
                <a:lnTo>
                  <a:pt x="671" y="539"/>
                </a:lnTo>
                <a:lnTo>
                  <a:pt x="2248" y="539"/>
                </a:lnTo>
                <a:cubicBezTo>
                  <a:pt x="2396" y="539"/>
                  <a:pt x="2517" y="418"/>
                  <a:pt x="2517" y="269"/>
                </a:cubicBezTo>
                <a:cubicBezTo>
                  <a:pt x="2517" y="121"/>
                  <a:pt x="2396" y="0"/>
                  <a:pt x="2248" y="0"/>
                </a:cubicBezTo>
                <a:lnTo>
                  <a:pt x="671" y="0"/>
                </a:lnTo>
                <a:lnTo>
                  <a:pt x="323" y="0"/>
                </a:lnTo>
                <a:lnTo>
                  <a:pt x="226" y="0"/>
                </a:lnTo>
                <a:cubicBezTo>
                  <a:pt x="189" y="0"/>
                  <a:pt x="159" y="30"/>
                  <a:pt x="159" y="66"/>
                </a:cubicBezTo>
                <a:cubicBezTo>
                  <a:pt x="159" y="103"/>
                  <a:pt x="189" y="133"/>
                  <a:pt x="226" y="133"/>
                </a:cubicBezTo>
                <a:lnTo>
                  <a:pt x="257" y="133"/>
                </a:lnTo>
                <a:lnTo>
                  <a:pt x="257" y="405"/>
                </a:lnTo>
                <a:lnTo>
                  <a:pt x="226" y="405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7" name="up-triangle_59124"/>
          <p:cNvSpPr>
            <a:spLocks noChangeAspect="1"/>
          </p:cNvSpPr>
          <p:nvPr/>
        </p:nvSpPr>
        <p:spPr bwMode="auto">
          <a:xfrm>
            <a:off x="11582357" y="-248"/>
            <a:ext cx="609685" cy="325616"/>
          </a:xfrm>
          <a:custGeom>
            <a:avLst/>
            <a:gdLst>
              <a:gd name="T0" fmla="*/ 1600 w 1707"/>
              <a:gd name="T1" fmla="*/ 0 h 913"/>
              <a:gd name="T2" fmla="*/ 107 w 1707"/>
              <a:gd name="T3" fmla="*/ 0 h 913"/>
              <a:gd name="T4" fmla="*/ 51 w 1707"/>
              <a:gd name="T5" fmla="*/ 136 h 913"/>
              <a:gd name="T6" fmla="*/ 797 w 1707"/>
              <a:gd name="T7" fmla="*/ 882 h 913"/>
              <a:gd name="T8" fmla="*/ 909 w 1707"/>
              <a:gd name="T9" fmla="*/ 882 h 913"/>
              <a:gd name="T10" fmla="*/ 1656 w 1707"/>
              <a:gd name="T11" fmla="*/ 136 h 913"/>
              <a:gd name="T12" fmla="*/ 1600 w 1707"/>
              <a:gd name="T13" fmla="*/ 0 h 9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707" h="913">
                <a:moveTo>
                  <a:pt x="1600" y="0"/>
                </a:moveTo>
                <a:lnTo>
                  <a:pt x="107" y="0"/>
                </a:lnTo>
                <a:cubicBezTo>
                  <a:pt x="36" y="0"/>
                  <a:pt x="0" y="85"/>
                  <a:pt x="51" y="136"/>
                </a:cubicBezTo>
                <a:lnTo>
                  <a:pt x="797" y="882"/>
                </a:lnTo>
                <a:cubicBezTo>
                  <a:pt x="828" y="913"/>
                  <a:pt x="879" y="913"/>
                  <a:pt x="909" y="882"/>
                </a:cubicBezTo>
                <a:lnTo>
                  <a:pt x="1656" y="136"/>
                </a:lnTo>
                <a:cubicBezTo>
                  <a:pt x="1707" y="85"/>
                  <a:pt x="1671" y="0"/>
                  <a:pt x="1600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6" name="文本框 5"/>
          <p:cNvSpPr txBox="1"/>
          <p:nvPr/>
        </p:nvSpPr>
        <p:spPr>
          <a:xfrm>
            <a:off x="430530" y="4050665"/>
            <a:ext cx="1045845" cy="95313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 sz="2800" b="1">
                <a:latin typeface="宋体" panose="02010600030101010101" pitchFamily="2" charset="-122"/>
                <a:ea typeface="宋体" panose="02010600030101010101" pitchFamily="2" charset="-122"/>
              </a:rPr>
              <a:t>解析过程</a:t>
            </a:r>
            <a:endParaRPr lang="zh-CN" altLang="en-US" sz="2800" b="1">
              <a:latin typeface="宋体" panose="02010600030101010101" pitchFamily="2" charset="-122"/>
              <a:ea typeface="宋体" panose="02010600030101010101" pitchFamily="2" charset="-122"/>
            </a:endParaRPr>
          </a:p>
        </p:txBody>
      </p:sp>
      <p:cxnSp>
        <p:nvCxnSpPr>
          <p:cNvPr id="10" name="直接连接符 9"/>
          <p:cNvCxnSpPr/>
          <p:nvPr/>
        </p:nvCxnSpPr>
        <p:spPr>
          <a:xfrm>
            <a:off x="1630680" y="3477895"/>
            <a:ext cx="8255" cy="292925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图片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38935" y="3039745"/>
            <a:ext cx="3581400" cy="438150"/>
          </a:xfrm>
          <a:prstGeom prst="rect">
            <a:avLst/>
          </a:prstGeom>
        </p:spPr>
      </p:pic>
      <p:pic>
        <p:nvPicPr>
          <p:cNvPr id="11" name="图片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581900" y="3771900"/>
            <a:ext cx="2162175" cy="847725"/>
          </a:xfrm>
          <a:prstGeom prst="rect">
            <a:avLst/>
          </a:prstGeom>
        </p:spPr>
      </p:pic>
      <p:pic>
        <p:nvPicPr>
          <p:cNvPr id="12" name="图片 1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340610" y="3918585"/>
            <a:ext cx="5173345" cy="554355"/>
          </a:xfrm>
          <a:prstGeom prst="rect">
            <a:avLst/>
          </a:prstGeom>
        </p:spPr>
      </p:pic>
      <p:pic>
        <p:nvPicPr>
          <p:cNvPr id="14" name="图片 13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340610" y="5431790"/>
            <a:ext cx="4930140" cy="436245"/>
          </a:xfrm>
          <a:prstGeom prst="rect">
            <a:avLst/>
          </a:prstGeom>
        </p:spPr>
      </p:pic>
      <p:pic>
        <p:nvPicPr>
          <p:cNvPr id="15" name="图片 14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658735" y="5220970"/>
            <a:ext cx="1866900" cy="857250"/>
          </a:xfrm>
          <a:prstGeom prst="rect">
            <a:avLst/>
          </a:prstGeom>
        </p:spPr>
      </p:pic>
      <p:pic>
        <p:nvPicPr>
          <p:cNvPr id="16" name="图片 15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775460" y="3480435"/>
            <a:ext cx="4082415" cy="438150"/>
          </a:xfrm>
          <a:prstGeom prst="rect">
            <a:avLst/>
          </a:prstGeom>
        </p:spPr>
      </p:pic>
      <p:pic>
        <p:nvPicPr>
          <p:cNvPr id="17" name="图片 16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775460" y="5003800"/>
            <a:ext cx="4116705" cy="356870"/>
          </a:xfrm>
          <a:prstGeom prst="rect">
            <a:avLst/>
          </a:prstGeom>
        </p:spPr>
      </p:pic>
      <p:graphicFrame>
        <p:nvGraphicFramePr>
          <p:cNvPr id="8" name="对象 -2147482610"/>
          <p:cNvGraphicFramePr>
            <a:graphicFrameLocks noChangeAspect="1"/>
          </p:cNvGraphicFramePr>
          <p:nvPr/>
        </p:nvGraphicFramePr>
        <p:xfrm>
          <a:off x="9832340" y="3981133"/>
          <a:ext cx="2241550" cy="17214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" name="" r:id="rId9" imgW="1130300" imgH="862965" progId="Equation.KSEE3">
                  <p:embed/>
                </p:oleObj>
              </mc:Choice>
              <mc:Fallback>
                <p:oleObj name="" r:id="rId9" imgW="1130300" imgH="862965" progId="Equation.KSEE3">
                  <p:embed/>
                  <p:pic>
                    <p:nvPicPr>
                      <p:cNvPr id="0" name="图片 17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9832340" y="3981133"/>
                        <a:ext cx="2241550" cy="1721485"/>
                      </a:xfrm>
                      <a:prstGeom prst="rect">
                        <a:avLst/>
                      </a:prstGeom>
                      <a:noFill/>
                      <a:ln w="38100">
                        <a:noFill/>
                        <a:miter/>
                      </a:ln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2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2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2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2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2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2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2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2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2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" dur="2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2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2" dur="2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2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7" dur="2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2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2" dur="2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4" name="五边形 3"/>
          <p:cNvSpPr/>
          <p:nvPr/>
        </p:nvSpPr>
        <p:spPr>
          <a:xfrm>
            <a:off x="589915" y="404495"/>
            <a:ext cx="4131945" cy="619125"/>
          </a:xfrm>
          <a:prstGeom prst="homePlat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p>
            <a:r>
              <a:rPr lang="zh-CN">
                <a:sym typeface="+mn-ea"/>
              </a:rPr>
              <a:t>典型例题</a:t>
            </a:r>
            <a:r>
              <a:rPr lang="en-US" altLang="zh-CN">
                <a:sym typeface="+mn-ea"/>
              </a:rPr>
              <a:t>3</a:t>
            </a:r>
            <a:r>
              <a:rPr lang="en-US" altLang="zh-CN">
                <a:sym typeface="+mn-ea"/>
              </a:rPr>
              <a:t>·2018</a:t>
            </a:r>
            <a:r>
              <a:rPr lang="zh-CN">
                <a:sym typeface="+mn-ea"/>
              </a:rPr>
              <a:t>天津卷</a:t>
            </a:r>
            <a:endParaRPr lang="zh-CN"/>
          </a:p>
        </p:txBody>
      </p:sp>
      <p:sp>
        <p:nvSpPr>
          <p:cNvPr id="9" name="three-books_73757"/>
          <p:cNvSpPr>
            <a:spLocks noChangeAspect="1"/>
          </p:cNvSpPr>
          <p:nvPr/>
        </p:nvSpPr>
        <p:spPr bwMode="auto">
          <a:xfrm>
            <a:off x="11582358" y="6383442"/>
            <a:ext cx="609685" cy="474136"/>
          </a:xfrm>
          <a:custGeom>
            <a:avLst/>
            <a:gdLst>
              <a:gd name="T0" fmla="*/ 2471 w 2903"/>
              <a:gd name="T1" fmla="*/ 1598 h 2261"/>
              <a:gd name="T2" fmla="*/ 2471 w 2903"/>
              <a:gd name="T3" fmla="*/ 2127 h 2261"/>
              <a:gd name="T4" fmla="*/ 2505 w 2903"/>
              <a:gd name="T5" fmla="*/ 2127 h 2261"/>
              <a:gd name="T6" fmla="*/ 2572 w 2903"/>
              <a:gd name="T7" fmla="*/ 2194 h 2261"/>
              <a:gd name="T8" fmla="*/ 2505 w 2903"/>
              <a:gd name="T9" fmla="*/ 2261 h 2261"/>
              <a:gd name="T10" fmla="*/ 2405 w 2903"/>
              <a:gd name="T11" fmla="*/ 2261 h 2261"/>
              <a:gd name="T12" fmla="*/ 2124 w 2903"/>
              <a:gd name="T13" fmla="*/ 2261 h 2261"/>
              <a:gd name="T14" fmla="*/ 398 w 2903"/>
              <a:gd name="T15" fmla="*/ 2261 h 2261"/>
              <a:gd name="T16" fmla="*/ 0 w 2903"/>
              <a:gd name="T17" fmla="*/ 1863 h 2261"/>
              <a:gd name="T18" fmla="*/ 398 w 2903"/>
              <a:gd name="T19" fmla="*/ 1465 h 2261"/>
              <a:gd name="T20" fmla="*/ 2124 w 2903"/>
              <a:gd name="T21" fmla="*/ 1465 h 2261"/>
              <a:gd name="T22" fmla="*/ 2405 w 2903"/>
              <a:gd name="T23" fmla="*/ 1465 h 2261"/>
              <a:gd name="T24" fmla="*/ 2505 w 2903"/>
              <a:gd name="T25" fmla="*/ 1465 h 2261"/>
              <a:gd name="T26" fmla="*/ 2572 w 2903"/>
              <a:gd name="T27" fmla="*/ 1532 h 2261"/>
              <a:gd name="T28" fmla="*/ 2505 w 2903"/>
              <a:gd name="T29" fmla="*/ 1598 h 2261"/>
              <a:gd name="T30" fmla="*/ 2471 w 2903"/>
              <a:gd name="T31" fmla="*/ 1598 h 2261"/>
              <a:gd name="T32" fmla="*/ 2836 w 2903"/>
              <a:gd name="T33" fmla="*/ 1195 h 2261"/>
              <a:gd name="T34" fmla="*/ 2786 w 2903"/>
              <a:gd name="T35" fmla="*/ 1195 h 2261"/>
              <a:gd name="T36" fmla="*/ 2786 w 2903"/>
              <a:gd name="T37" fmla="*/ 786 h 2261"/>
              <a:gd name="T38" fmla="*/ 2836 w 2903"/>
              <a:gd name="T39" fmla="*/ 786 h 2261"/>
              <a:gd name="T40" fmla="*/ 2903 w 2903"/>
              <a:gd name="T41" fmla="*/ 720 h 2261"/>
              <a:gd name="T42" fmla="*/ 2836 w 2903"/>
              <a:gd name="T43" fmla="*/ 653 h 2261"/>
              <a:gd name="T44" fmla="*/ 2720 w 2903"/>
              <a:gd name="T45" fmla="*/ 653 h 2261"/>
              <a:gd name="T46" fmla="*/ 2455 w 2903"/>
              <a:gd name="T47" fmla="*/ 653 h 2261"/>
              <a:gd name="T48" fmla="*/ 1005 w 2903"/>
              <a:gd name="T49" fmla="*/ 653 h 2261"/>
              <a:gd name="T50" fmla="*/ 668 w 2903"/>
              <a:gd name="T51" fmla="*/ 991 h 2261"/>
              <a:gd name="T52" fmla="*/ 1005 w 2903"/>
              <a:gd name="T53" fmla="*/ 1328 h 2261"/>
              <a:gd name="T54" fmla="*/ 2455 w 2903"/>
              <a:gd name="T55" fmla="*/ 1328 h 2261"/>
              <a:gd name="T56" fmla="*/ 2720 w 2903"/>
              <a:gd name="T57" fmla="*/ 1328 h 2261"/>
              <a:gd name="T58" fmla="*/ 2836 w 2903"/>
              <a:gd name="T59" fmla="*/ 1328 h 2261"/>
              <a:gd name="T60" fmla="*/ 2903 w 2903"/>
              <a:gd name="T61" fmla="*/ 1262 h 2261"/>
              <a:gd name="T62" fmla="*/ 2836 w 2903"/>
              <a:gd name="T63" fmla="*/ 1195 h 2261"/>
              <a:gd name="T64" fmla="*/ 226 w 2903"/>
              <a:gd name="T65" fmla="*/ 405 h 2261"/>
              <a:gd name="T66" fmla="*/ 159 w 2903"/>
              <a:gd name="T67" fmla="*/ 472 h 2261"/>
              <a:gd name="T68" fmla="*/ 226 w 2903"/>
              <a:gd name="T69" fmla="*/ 539 h 2261"/>
              <a:gd name="T70" fmla="*/ 323 w 2903"/>
              <a:gd name="T71" fmla="*/ 539 h 2261"/>
              <a:gd name="T72" fmla="*/ 671 w 2903"/>
              <a:gd name="T73" fmla="*/ 539 h 2261"/>
              <a:gd name="T74" fmla="*/ 2248 w 2903"/>
              <a:gd name="T75" fmla="*/ 539 h 2261"/>
              <a:gd name="T76" fmla="*/ 2517 w 2903"/>
              <a:gd name="T77" fmla="*/ 269 h 2261"/>
              <a:gd name="T78" fmla="*/ 2248 w 2903"/>
              <a:gd name="T79" fmla="*/ 0 h 2261"/>
              <a:gd name="T80" fmla="*/ 671 w 2903"/>
              <a:gd name="T81" fmla="*/ 0 h 2261"/>
              <a:gd name="T82" fmla="*/ 323 w 2903"/>
              <a:gd name="T83" fmla="*/ 0 h 2261"/>
              <a:gd name="T84" fmla="*/ 226 w 2903"/>
              <a:gd name="T85" fmla="*/ 0 h 2261"/>
              <a:gd name="T86" fmla="*/ 159 w 2903"/>
              <a:gd name="T87" fmla="*/ 66 h 2261"/>
              <a:gd name="T88" fmla="*/ 226 w 2903"/>
              <a:gd name="T89" fmla="*/ 133 h 2261"/>
              <a:gd name="T90" fmla="*/ 257 w 2903"/>
              <a:gd name="T91" fmla="*/ 133 h 2261"/>
              <a:gd name="T92" fmla="*/ 257 w 2903"/>
              <a:gd name="T93" fmla="*/ 405 h 2261"/>
              <a:gd name="T94" fmla="*/ 226 w 2903"/>
              <a:gd name="T95" fmla="*/ 405 h 22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2903" h="2261">
                <a:moveTo>
                  <a:pt x="2471" y="1598"/>
                </a:moveTo>
                <a:lnTo>
                  <a:pt x="2471" y="2127"/>
                </a:lnTo>
                <a:lnTo>
                  <a:pt x="2505" y="2127"/>
                </a:lnTo>
                <a:cubicBezTo>
                  <a:pt x="2542" y="2127"/>
                  <a:pt x="2572" y="2157"/>
                  <a:pt x="2572" y="2194"/>
                </a:cubicBezTo>
                <a:cubicBezTo>
                  <a:pt x="2572" y="2231"/>
                  <a:pt x="2542" y="2261"/>
                  <a:pt x="2505" y="2261"/>
                </a:cubicBezTo>
                <a:lnTo>
                  <a:pt x="2405" y="2261"/>
                </a:lnTo>
                <a:lnTo>
                  <a:pt x="2124" y="2261"/>
                </a:lnTo>
                <a:lnTo>
                  <a:pt x="398" y="2261"/>
                </a:lnTo>
                <a:cubicBezTo>
                  <a:pt x="178" y="2261"/>
                  <a:pt x="0" y="2082"/>
                  <a:pt x="0" y="1863"/>
                </a:cubicBezTo>
                <a:cubicBezTo>
                  <a:pt x="0" y="1643"/>
                  <a:pt x="178" y="1465"/>
                  <a:pt x="398" y="1465"/>
                </a:cubicBezTo>
                <a:lnTo>
                  <a:pt x="2124" y="1465"/>
                </a:lnTo>
                <a:lnTo>
                  <a:pt x="2405" y="1465"/>
                </a:lnTo>
                <a:lnTo>
                  <a:pt x="2505" y="1465"/>
                </a:lnTo>
                <a:cubicBezTo>
                  <a:pt x="2542" y="1465"/>
                  <a:pt x="2572" y="1495"/>
                  <a:pt x="2572" y="1532"/>
                </a:cubicBezTo>
                <a:cubicBezTo>
                  <a:pt x="2572" y="1568"/>
                  <a:pt x="2542" y="1598"/>
                  <a:pt x="2505" y="1598"/>
                </a:cubicBezTo>
                <a:lnTo>
                  <a:pt x="2471" y="1598"/>
                </a:lnTo>
                <a:close/>
                <a:moveTo>
                  <a:pt x="2836" y="1195"/>
                </a:moveTo>
                <a:lnTo>
                  <a:pt x="2786" y="1195"/>
                </a:lnTo>
                <a:lnTo>
                  <a:pt x="2786" y="786"/>
                </a:lnTo>
                <a:lnTo>
                  <a:pt x="2836" y="786"/>
                </a:lnTo>
                <a:cubicBezTo>
                  <a:pt x="2873" y="786"/>
                  <a:pt x="2903" y="757"/>
                  <a:pt x="2903" y="720"/>
                </a:cubicBezTo>
                <a:cubicBezTo>
                  <a:pt x="2903" y="683"/>
                  <a:pt x="2873" y="653"/>
                  <a:pt x="2836" y="653"/>
                </a:cubicBezTo>
                <a:lnTo>
                  <a:pt x="2720" y="653"/>
                </a:lnTo>
                <a:lnTo>
                  <a:pt x="2455" y="653"/>
                </a:lnTo>
                <a:lnTo>
                  <a:pt x="1005" y="653"/>
                </a:lnTo>
                <a:cubicBezTo>
                  <a:pt x="819" y="653"/>
                  <a:pt x="668" y="805"/>
                  <a:pt x="668" y="991"/>
                </a:cubicBezTo>
                <a:cubicBezTo>
                  <a:pt x="668" y="1177"/>
                  <a:pt x="819" y="1328"/>
                  <a:pt x="1005" y="1328"/>
                </a:cubicBezTo>
                <a:lnTo>
                  <a:pt x="2455" y="1328"/>
                </a:lnTo>
                <a:lnTo>
                  <a:pt x="2720" y="1328"/>
                </a:lnTo>
                <a:lnTo>
                  <a:pt x="2836" y="1328"/>
                </a:lnTo>
                <a:cubicBezTo>
                  <a:pt x="2873" y="1328"/>
                  <a:pt x="2903" y="1299"/>
                  <a:pt x="2903" y="1262"/>
                </a:cubicBezTo>
                <a:cubicBezTo>
                  <a:pt x="2903" y="1225"/>
                  <a:pt x="2873" y="1195"/>
                  <a:pt x="2836" y="1195"/>
                </a:cubicBezTo>
                <a:close/>
                <a:moveTo>
                  <a:pt x="226" y="405"/>
                </a:moveTo>
                <a:cubicBezTo>
                  <a:pt x="189" y="405"/>
                  <a:pt x="159" y="435"/>
                  <a:pt x="159" y="472"/>
                </a:cubicBezTo>
                <a:cubicBezTo>
                  <a:pt x="159" y="509"/>
                  <a:pt x="189" y="539"/>
                  <a:pt x="226" y="539"/>
                </a:cubicBezTo>
                <a:lnTo>
                  <a:pt x="323" y="539"/>
                </a:lnTo>
                <a:lnTo>
                  <a:pt x="671" y="539"/>
                </a:lnTo>
                <a:lnTo>
                  <a:pt x="2248" y="539"/>
                </a:lnTo>
                <a:cubicBezTo>
                  <a:pt x="2396" y="539"/>
                  <a:pt x="2517" y="418"/>
                  <a:pt x="2517" y="269"/>
                </a:cubicBezTo>
                <a:cubicBezTo>
                  <a:pt x="2517" y="121"/>
                  <a:pt x="2396" y="0"/>
                  <a:pt x="2248" y="0"/>
                </a:cubicBezTo>
                <a:lnTo>
                  <a:pt x="671" y="0"/>
                </a:lnTo>
                <a:lnTo>
                  <a:pt x="323" y="0"/>
                </a:lnTo>
                <a:lnTo>
                  <a:pt x="226" y="0"/>
                </a:lnTo>
                <a:cubicBezTo>
                  <a:pt x="189" y="0"/>
                  <a:pt x="159" y="30"/>
                  <a:pt x="159" y="66"/>
                </a:cubicBezTo>
                <a:cubicBezTo>
                  <a:pt x="159" y="103"/>
                  <a:pt x="189" y="133"/>
                  <a:pt x="226" y="133"/>
                </a:cubicBezTo>
                <a:lnTo>
                  <a:pt x="257" y="133"/>
                </a:lnTo>
                <a:lnTo>
                  <a:pt x="257" y="405"/>
                </a:lnTo>
                <a:lnTo>
                  <a:pt x="226" y="405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7" name="up-triangle_59124"/>
          <p:cNvSpPr>
            <a:spLocks noChangeAspect="1"/>
          </p:cNvSpPr>
          <p:nvPr/>
        </p:nvSpPr>
        <p:spPr bwMode="auto">
          <a:xfrm>
            <a:off x="11582357" y="-248"/>
            <a:ext cx="609685" cy="325616"/>
          </a:xfrm>
          <a:custGeom>
            <a:avLst/>
            <a:gdLst>
              <a:gd name="T0" fmla="*/ 1600 w 1707"/>
              <a:gd name="T1" fmla="*/ 0 h 913"/>
              <a:gd name="T2" fmla="*/ 107 w 1707"/>
              <a:gd name="T3" fmla="*/ 0 h 913"/>
              <a:gd name="T4" fmla="*/ 51 w 1707"/>
              <a:gd name="T5" fmla="*/ 136 h 913"/>
              <a:gd name="T6" fmla="*/ 797 w 1707"/>
              <a:gd name="T7" fmla="*/ 882 h 913"/>
              <a:gd name="T8" fmla="*/ 909 w 1707"/>
              <a:gd name="T9" fmla="*/ 882 h 913"/>
              <a:gd name="T10" fmla="*/ 1656 w 1707"/>
              <a:gd name="T11" fmla="*/ 136 h 913"/>
              <a:gd name="T12" fmla="*/ 1600 w 1707"/>
              <a:gd name="T13" fmla="*/ 0 h 9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707" h="913">
                <a:moveTo>
                  <a:pt x="1600" y="0"/>
                </a:moveTo>
                <a:lnTo>
                  <a:pt x="107" y="0"/>
                </a:lnTo>
                <a:cubicBezTo>
                  <a:pt x="36" y="0"/>
                  <a:pt x="0" y="85"/>
                  <a:pt x="51" y="136"/>
                </a:cubicBezTo>
                <a:lnTo>
                  <a:pt x="797" y="882"/>
                </a:lnTo>
                <a:cubicBezTo>
                  <a:pt x="828" y="913"/>
                  <a:pt x="879" y="913"/>
                  <a:pt x="909" y="882"/>
                </a:cubicBezTo>
                <a:lnTo>
                  <a:pt x="1656" y="136"/>
                </a:lnTo>
                <a:cubicBezTo>
                  <a:pt x="1707" y="85"/>
                  <a:pt x="1671" y="0"/>
                  <a:pt x="1600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6" name="文本框 5"/>
          <p:cNvSpPr txBox="1"/>
          <p:nvPr/>
        </p:nvSpPr>
        <p:spPr>
          <a:xfrm>
            <a:off x="430530" y="4050665"/>
            <a:ext cx="1045845" cy="95313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 sz="2800" b="1">
                <a:latin typeface="宋体" panose="02010600030101010101" pitchFamily="2" charset="-122"/>
                <a:ea typeface="宋体" panose="02010600030101010101" pitchFamily="2" charset="-122"/>
              </a:rPr>
              <a:t>解析过程</a:t>
            </a:r>
            <a:endParaRPr lang="zh-CN" altLang="en-US" sz="2800" b="1">
              <a:latin typeface="宋体" panose="02010600030101010101" pitchFamily="2" charset="-122"/>
              <a:ea typeface="宋体" panose="02010600030101010101" pitchFamily="2" charset="-122"/>
            </a:endParaRPr>
          </a:p>
        </p:txBody>
      </p:sp>
      <p:cxnSp>
        <p:nvCxnSpPr>
          <p:cNvPr id="10" name="直接连接符 9"/>
          <p:cNvCxnSpPr/>
          <p:nvPr/>
        </p:nvCxnSpPr>
        <p:spPr>
          <a:xfrm>
            <a:off x="1630680" y="3477895"/>
            <a:ext cx="8255" cy="292925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5" name="对象 -2147482609"/>
          <p:cNvGraphicFramePr>
            <a:graphicFrameLocks noChangeAspect="1"/>
          </p:cNvGraphicFramePr>
          <p:nvPr/>
        </p:nvGraphicFramePr>
        <p:xfrm>
          <a:off x="1799908" y="3132138"/>
          <a:ext cx="2921635" cy="17214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6" name="" r:id="rId1" imgW="1473200" imgH="862965" progId="Equation.KSEE3">
                  <p:embed/>
                </p:oleObj>
              </mc:Choice>
              <mc:Fallback>
                <p:oleObj name="" r:id="rId1" imgW="1473200" imgH="862965" progId="Equation.KSEE3">
                  <p:embed/>
                  <p:pic>
                    <p:nvPicPr>
                      <p:cNvPr id="0" name="图片 3075"/>
                      <p:cNvPicPr/>
                      <p:nvPr/>
                    </p:nvPicPr>
                    <p:blipFill>
                      <a:blip r:embed="rId2"/>
                      <a:stretch>
                        <a:fillRect/>
                      </a:stretch>
                    </p:blipFill>
                    <p:spPr>
                      <a:xfrm>
                        <a:off x="1799908" y="3132138"/>
                        <a:ext cx="2921635" cy="1721485"/>
                      </a:xfrm>
                      <a:prstGeom prst="rect">
                        <a:avLst/>
                      </a:prstGeom>
                      <a:noFill/>
                      <a:ln w="38100">
                        <a:noFill/>
                        <a:miter/>
                      </a:ln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8" name="对象 -2147482608"/>
          <p:cNvGraphicFramePr>
            <a:graphicFrameLocks noChangeAspect="1"/>
          </p:cNvGraphicFramePr>
          <p:nvPr/>
        </p:nvGraphicFramePr>
        <p:xfrm>
          <a:off x="1799908" y="4853623"/>
          <a:ext cx="6245225" cy="83629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" name="" r:id="rId3" imgW="3148965" imgH="419100" progId="Equation.KSEE3">
                  <p:embed/>
                </p:oleObj>
              </mc:Choice>
              <mc:Fallback>
                <p:oleObj name="" r:id="rId3" imgW="3148965" imgH="419100" progId="Equation.KSEE3">
                  <p:embed/>
                  <p:pic>
                    <p:nvPicPr>
                      <p:cNvPr id="0" name="图片 12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799908" y="4853623"/>
                        <a:ext cx="6245225" cy="836295"/>
                      </a:xfrm>
                      <a:prstGeom prst="rect">
                        <a:avLst/>
                      </a:prstGeom>
                      <a:noFill/>
                      <a:ln w="38100">
                        <a:noFill/>
                        <a:miter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椭圆 19"/>
          <p:cNvSpPr/>
          <p:nvPr/>
        </p:nvSpPr>
        <p:spPr>
          <a:xfrm>
            <a:off x="3093720" y="4922520"/>
            <a:ext cx="1628140" cy="860425"/>
          </a:xfrm>
          <a:prstGeom prst="ellipse">
            <a:avLst/>
          </a:prstGeom>
          <a:noFill/>
          <a:ln w="19050">
            <a:solidFill>
              <a:schemeClr val="accent1">
                <a:shade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21" name="椭圆 20"/>
          <p:cNvSpPr/>
          <p:nvPr/>
        </p:nvSpPr>
        <p:spPr>
          <a:xfrm>
            <a:off x="6097905" y="4922520"/>
            <a:ext cx="1628140" cy="860425"/>
          </a:xfrm>
          <a:prstGeom prst="ellipse">
            <a:avLst/>
          </a:prstGeom>
          <a:noFill/>
          <a:ln w="19050">
            <a:solidFill>
              <a:schemeClr val="accent1">
                <a:shade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  <p:graphicFrame>
        <p:nvGraphicFramePr>
          <p:cNvPr id="11" name="对象 -2147482607"/>
          <p:cNvGraphicFramePr>
            <a:graphicFrameLocks noChangeAspect="1"/>
          </p:cNvGraphicFramePr>
          <p:nvPr/>
        </p:nvGraphicFramePr>
        <p:xfrm>
          <a:off x="1863090" y="5975985"/>
          <a:ext cx="3312795" cy="44323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" name="" r:id="rId5" imgW="1625600" imgH="215900" progId="Equation.KSEE3">
                  <p:embed/>
                </p:oleObj>
              </mc:Choice>
              <mc:Fallback>
                <p:oleObj name="" r:id="rId5" imgW="1625600" imgH="215900" progId="Equation.KSEE3">
                  <p:embed/>
                  <p:pic>
                    <p:nvPicPr>
                      <p:cNvPr id="0" name="图片 2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863090" y="5975985"/>
                        <a:ext cx="3312795" cy="443230"/>
                      </a:xfrm>
                      <a:prstGeom prst="rect">
                        <a:avLst/>
                      </a:prstGeom>
                      <a:noFill/>
                      <a:ln w="38100">
                        <a:noFill/>
                        <a:miter/>
                      </a:ln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图片 11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321675" y="3041650"/>
            <a:ext cx="3209925" cy="2971800"/>
          </a:xfrm>
          <a:prstGeom prst="rect">
            <a:avLst/>
          </a:prstGeom>
        </p:spPr>
      </p:pic>
      <p:pic>
        <p:nvPicPr>
          <p:cNvPr id="14" name="图片 13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476375" y="1261745"/>
            <a:ext cx="9568180" cy="153924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2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2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2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2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4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17" dur="20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4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22" dur="20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2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7" dur="2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2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2" dur="2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 animBg="1"/>
      <p:bldP spid="21" grpId="0" animBg="1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4" name="五边形 3"/>
          <p:cNvSpPr/>
          <p:nvPr/>
        </p:nvSpPr>
        <p:spPr>
          <a:xfrm>
            <a:off x="589915" y="404495"/>
            <a:ext cx="4131945" cy="619125"/>
          </a:xfrm>
          <a:prstGeom prst="homePlat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p>
            <a:r>
              <a:rPr lang="zh-CN">
                <a:sym typeface="+mn-ea"/>
              </a:rPr>
              <a:t>典型例题</a:t>
            </a:r>
            <a:r>
              <a:rPr lang="en-US" altLang="zh-CN">
                <a:sym typeface="+mn-ea"/>
              </a:rPr>
              <a:t>3</a:t>
            </a:r>
            <a:r>
              <a:rPr lang="en-US" altLang="zh-CN">
                <a:sym typeface="+mn-ea"/>
              </a:rPr>
              <a:t>·2018</a:t>
            </a:r>
            <a:r>
              <a:rPr lang="zh-CN">
                <a:sym typeface="+mn-ea"/>
              </a:rPr>
              <a:t>天津卷</a:t>
            </a:r>
            <a:endParaRPr lang="zh-CN"/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589915" y="1154430"/>
            <a:ext cx="10941685" cy="1760220"/>
          </a:xfrm>
          <a:prstGeom prst="rect">
            <a:avLst/>
          </a:prstGeom>
        </p:spPr>
      </p:pic>
      <p:sp>
        <p:nvSpPr>
          <p:cNvPr id="9" name="three-books_73757"/>
          <p:cNvSpPr>
            <a:spLocks noChangeAspect="1"/>
          </p:cNvSpPr>
          <p:nvPr/>
        </p:nvSpPr>
        <p:spPr bwMode="auto">
          <a:xfrm>
            <a:off x="11582358" y="6383442"/>
            <a:ext cx="609685" cy="474136"/>
          </a:xfrm>
          <a:custGeom>
            <a:avLst/>
            <a:gdLst>
              <a:gd name="T0" fmla="*/ 2471 w 2903"/>
              <a:gd name="T1" fmla="*/ 1598 h 2261"/>
              <a:gd name="T2" fmla="*/ 2471 w 2903"/>
              <a:gd name="T3" fmla="*/ 2127 h 2261"/>
              <a:gd name="T4" fmla="*/ 2505 w 2903"/>
              <a:gd name="T5" fmla="*/ 2127 h 2261"/>
              <a:gd name="T6" fmla="*/ 2572 w 2903"/>
              <a:gd name="T7" fmla="*/ 2194 h 2261"/>
              <a:gd name="T8" fmla="*/ 2505 w 2903"/>
              <a:gd name="T9" fmla="*/ 2261 h 2261"/>
              <a:gd name="T10" fmla="*/ 2405 w 2903"/>
              <a:gd name="T11" fmla="*/ 2261 h 2261"/>
              <a:gd name="T12" fmla="*/ 2124 w 2903"/>
              <a:gd name="T13" fmla="*/ 2261 h 2261"/>
              <a:gd name="T14" fmla="*/ 398 w 2903"/>
              <a:gd name="T15" fmla="*/ 2261 h 2261"/>
              <a:gd name="T16" fmla="*/ 0 w 2903"/>
              <a:gd name="T17" fmla="*/ 1863 h 2261"/>
              <a:gd name="T18" fmla="*/ 398 w 2903"/>
              <a:gd name="T19" fmla="*/ 1465 h 2261"/>
              <a:gd name="T20" fmla="*/ 2124 w 2903"/>
              <a:gd name="T21" fmla="*/ 1465 h 2261"/>
              <a:gd name="T22" fmla="*/ 2405 w 2903"/>
              <a:gd name="T23" fmla="*/ 1465 h 2261"/>
              <a:gd name="T24" fmla="*/ 2505 w 2903"/>
              <a:gd name="T25" fmla="*/ 1465 h 2261"/>
              <a:gd name="T26" fmla="*/ 2572 w 2903"/>
              <a:gd name="T27" fmla="*/ 1532 h 2261"/>
              <a:gd name="T28" fmla="*/ 2505 w 2903"/>
              <a:gd name="T29" fmla="*/ 1598 h 2261"/>
              <a:gd name="T30" fmla="*/ 2471 w 2903"/>
              <a:gd name="T31" fmla="*/ 1598 h 2261"/>
              <a:gd name="T32" fmla="*/ 2836 w 2903"/>
              <a:gd name="T33" fmla="*/ 1195 h 2261"/>
              <a:gd name="T34" fmla="*/ 2786 w 2903"/>
              <a:gd name="T35" fmla="*/ 1195 h 2261"/>
              <a:gd name="T36" fmla="*/ 2786 w 2903"/>
              <a:gd name="T37" fmla="*/ 786 h 2261"/>
              <a:gd name="T38" fmla="*/ 2836 w 2903"/>
              <a:gd name="T39" fmla="*/ 786 h 2261"/>
              <a:gd name="T40" fmla="*/ 2903 w 2903"/>
              <a:gd name="T41" fmla="*/ 720 h 2261"/>
              <a:gd name="T42" fmla="*/ 2836 w 2903"/>
              <a:gd name="T43" fmla="*/ 653 h 2261"/>
              <a:gd name="T44" fmla="*/ 2720 w 2903"/>
              <a:gd name="T45" fmla="*/ 653 h 2261"/>
              <a:gd name="T46" fmla="*/ 2455 w 2903"/>
              <a:gd name="T47" fmla="*/ 653 h 2261"/>
              <a:gd name="T48" fmla="*/ 1005 w 2903"/>
              <a:gd name="T49" fmla="*/ 653 h 2261"/>
              <a:gd name="T50" fmla="*/ 668 w 2903"/>
              <a:gd name="T51" fmla="*/ 991 h 2261"/>
              <a:gd name="T52" fmla="*/ 1005 w 2903"/>
              <a:gd name="T53" fmla="*/ 1328 h 2261"/>
              <a:gd name="T54" fmla="*/ 2455 w 2903"/>
              <a:gd name="T55" fmla="*/ 1328 h 2261"/>
              <a:gd name="T56" fmla="*/ 2720 w 2903"/>
              <a:gd name="T57" fmla="*/ 1328 h 2261"/>
              <a:gd name="T58" fmla="*/ 2836 w 2903"/>
              <a:gd name="T59" fmla="*/ 1328 h 2261"/>
              <a:gd name="T60" fmla="*/ 2903 w 2903"/>
              <a:gd name="T61" fmla="*/ 1262 h 2261"/>
              <a:gd name="T62" fmla="*/ 2836 w 2903"/>
              <a:gd name="T63" fmla="*/ 1195 h 2261"/>
              <a:gd name="T64" fmla="*/ 226 w 2903"/>
              <a:gd name="T65" fmla="*/ 405 h 2261"/>
              <a:gd name="T66" fmla="*/ 159 w 2903"/>
              <a:gd name="T67" fmla="*/ 472 h 2261"/>
              <a:gd name="T68" fmla="*/ 226 w 2903"/>
              <a:gd name="T69" fmla="*/ 539 h 2261"/>
              <a:gd name="T70" fmla="*/ 323 w 2903"/>
              <a:gd name="T71" fmla="*/ 539 h 2261"/>
              <a:gd name="T72" fmla="*/ 671 w 2903"/>
              <a:gd name="T73" fmla="*/ 539 h 2261"/>
              <a:gd name="T74" fmla="*/ 2248 w 2903"/>
              <a:gd name="T75" fmla="*/ 539 h 2261"/>
              <a:gd name="T76" fmla="*/ 2517 w 2903"/>
              <a:gd name="T77" fmla="*/ 269 h 2261"/>
              <a:gd name="T78" fmla="*/ 2248 w 2903"/>
              <a:gd name="T79" fmla="*/ 0 h 2261"/>
              <a:gd name="T80" fmla="*/ 671 w 2903"/>
              <a:gd name="T81" fmla="*/ 0 h 2261"/>
              <a:gd name="T82" fmla="*/ 323 w 2903"/>
              <a:gd name="T83" fmla="*/ 0 h 2261"/>
              <a:gd name="T84" fmla="*/ 226 w 2903"/>
              <a:gd name="T85" fmla="*/ 0 h 2261"/>
              <a:gd name="T86" fmla="*/ 159 w 2903"/>
              <a:gd name="T87" fmla="*/ 66 h 2261"/>
              <a:gd name="T88" fmla="*/ 226 w 2903"/>
              <a:gd name="T89" fmla="*/ 133 h 2261"/>
              <a:gd name="T90" fmla="*/ 257 w 2903"/>
              <a:gd name="T91" fmla="*/ 133 h 2261"/>
              <a:gd name="T92" fmla="*/ 257 w 2903"/>
              <a:gd name="T93" fmla="*/ 405 h 2261"/>
              <a:gd name="T94" fmla="*/ 226 w 2903"/>
              <a:gd name="T95" fmla="*/ 405 h 22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2903" h="2261">
                <a:moveTo>
                  <a:pt x="2471" y="1598"/>
                </a:moveTo>
                <a:lnTo>
                  <a:pt x="2471" y="2127"/>
                </a:lnTo>
                <a:lnTo>
                  <a:pt x="2505" y="2127"/>
                </a:lnTo>
                <a:cubicBezTo>
                  <a:pt x="2542" y="2127"/>
                  <a:pt x="2572" y="2157"/>
                  <a:pt x="2572" y="2194"/>
                </a:cubicBezTo>
                <a:cubicBezTo>
                  <a:pt x="2572" y="2231"/>
                  <a:pt x="2542" y="2261"/>
                  <a:pt x="2505" y="2261"/>
                </a:cubicBezTo>
                <a:lnTo>
                  <a:pt x="2405" y="2261"/>
                </a:lnTo>
                <a:lnTo>
                  <a:pt x="2124" y="2261"/>
                </a:lnTo>
                <a:lnTo>
                  <a:pt x="398" y="2261"/>
                </a:lnTo>
                <a:cubicBezTo>
                  <a:pt x="178" y="2261"/>
                  <a:pt x="0" y="2082"/>
                  <a:pt x="0" y="1863"/>
                </a:cubicBezTo>
                <a:cubicBezTo>
                  <a:pt x="0" y="1643"/>
                  <a:pt x="178" y="1465"/>
                  <a:pt x="398" y="1465"/>
                </a:cubicBezTo>
                <a:lnTo>
                  <a:pt x="2124" y="1465"/>
                </a:lnTo>
                <a:lnTo>
                  <a:pt x="2405" y="1465"/>
                </a:lnTo>
                <a:lnTo>
                  <a:pt x="2505" y="1465"/>
                </a:lnTo>
                <a:cubicBezTo>
                  <a:pt x="2542" y="1465"/>
                  <a:pt x="2572" y="1495"/>
                  <a:pt x="2572" y="1532"/>
                </a:cubicBezTo>
                <a:cubicBezTo>
                  <a:pt x="2572" y="1568"/>
                  <a:pt x="2542" y="1598"/>
                  <a:pt x="2505" y="1598"/>
                </a:cubicBezTo>
                <a:lnTo>
                  <a:pt x="2471" y="1598"/>
                </a:lnTo>
                <a:close/>
                <a:moveTo>
                  <a:pt x="2836" y="1195"/>
                </a:moveTo>
                <a:lnTo>
                  <a:pt x="2786" y="1195"/>
                </a:lnTo>
                <a:lnTo>
                  <a:pt x="2786" y="786"/>
                </a:lnTo>
                <a:lnTo>
                  <a:pt x="2836" y="786"/>
                </a:lnTo>
                <a:cubicBezTo>
                  <a:pt x="2873" y="786"/>
                  <a:pt x="2903" y="757"/>
                  <a:pt x="2903" y="720"/>
                </a:cubicBezTo>
                <a:cubicBezTo>
                  <a:pt x="2903" y="683"/>
                  <a:pt x="2873" y="653"/>
                  <a:pt x="2836" y="653"/>
                </a:cubicBezTo>
                <a:lnTo>
                  <a:pt x="2720" y="653"/>
                </a:lnTo>
                <a:lnTo>
                  <a:pt x="2455" y="653"/>
                </a:lnTo>
                <a:lnTo>
                  <a:pt x="1005" y="653"/>
                </a:lnTo>
                <a:cubicBezTo>
                  <a:pt x="819" y="653"/>
                  <a:pt x="668" y="805"/>
                  <a:pt x="668" y="991"/>
                </a:cubicBezTo>
                <a:cubicBezTo>
                  <a:pt x="668" y="1177"/>
                  <a:pt x="819" y="1328"/>
                  <a:pt x="1005" y="1328"/>
                </a:cubicBezTo>
                <a:lnTo>
                  <a:pt x="2455" y="1328"/>
                </a:lnTo>
                <a:lnTo>
                  <a:pt x="2720" y="1328"/>
                </a:lnTo>
                <a:lnTo>
                  <a:pt x="2836" y="1328"/>
                </a:lnTo>
                <a:cubicBezTo>
                  <a:pt x="2873" y="1328"/>
                  <a:pt x="2903" y="1299"/>
                  <a:pt x="2903" y="1262"/>
                </a:cubicBezTo>
                <a:cubicBezTo>
                  <a:pt x="2903" y="1225"/>
                  <a:pt x="2873" y="1195"/>
                  <a:pt x="2836" y="1195"/>
                </a:cubicBezTo>
                <a:close/>
                <a:moveTo>
                  <a:pt x="226" y="405"/>
                </a:moveTo>
                <a:cubicBezTo>
                  <a:pt x="189" y="405"/>
                  <a:pt x="159" y="435"/>
                  <a:pt x="159" y="472"/>
                </a:cubicBezTo>
                <a:cubicBezTo>
                  <a:pt x="159" y="509"/>
                  <a:pt x="189" y="539"/>
                  <a:pt x="226" y="539"/>
                </a:cubicBezTo>
                <a:lnTo>
                  <a:pt x="323" y="539"/>
                </a:lnTo>
                <a:lnTo>
                  <a:pt x="671" y="539"/>
                </a:lnTo>
                <a:lnTo>
                  <a:pt x="2248" y="539"/>
                </a:lnTo>
                <a:cubicBezTo>
                  <a:pt x="2396" y="539"/>
                  <a:pt x="2517" y="418"/>
                  <a:pt x="2517" y="269"/>
                </a:cubicBezTo>
                <a:cubicBezTo>
                  <a:pt x="2517" y="121"/>
                  <a:pt x="2396" y="0"/>
                  <a:pt x="2248" y="0"/>
                </a:cubicBezTo>
                <a:lnTo>
                  <a:pt x="671" y="0"/>
                </a:lnTo>
                <a:lnTo>
                  <a:pt x="323" y="0"/>
                </a:lnTo>
                <a:lnTo>
                  <a:pt x="226" y="0"/>
                </a:lnTo>
                <a:cubicBezTo>
                  <a:pt x="189" y="0"/>
                  <a:pt x="159" y="30"/>
                  <a:pt x="159" y="66"/>
                </a:cubicBezTo>
                <a:cubicBezTo>
                  <a:pt x="159" y="103"/>
                  <a:pt x="189" y="133"/>
                  <a:pt x="226" y="133"/>
                </a:cubicBezTo>
                <a:lnTo>
                  <a:pt x="257" y="133"/>
                </a:lnTo>
                <a:lnTo>
                  <a:pt x="257" y="405"/>
                </a:lnTo>
                <a:lnTo>
                  <a:pt x="226" y="405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7" name="up-triangle_59124"/>
          <p:cNvSpPr>
            <a:spLocks noChangeAspect="1"/>
          </p:cNvSpPr>
          <p:nvPr/>
        </p:nvSpPr>
        <p:spPr bwMode="auto">
          <a:xfrm>
            <a:off x="11582357" y="-248"/>
            <a:ext cx="609685" cy="325616"/>
          </a:xfrm>
          <a:custGeom>
            <a:avLst/>
            <a:gdLst>
              <a:gd name="T0" fmla="*/ 1600 w 1707"/>
              <a:gd name="T1" fmla="*/ 0 h 913"/>
              <a:gd name="T2" fmla="*/ 107 w 1707"/>
              <a:gd name="T3" fmla="*/ 0 h 913"/>
              <a:gd name="T4" fmla="*/ 51 w 1707"/>
              <a:gd name="T5" fmla="*/ 136 h 913"/>
              <a:gd name="T6" fmla="*/ 797 w 1707"/>
              <a:gd name="T7" fmla="*/ 882 h 913"/>
              <a:gd name="T8" fmla="*/ 909 w 1707"/>
              <a:gd name="T9" fmla="*/ 882 h 913"/>
              <a:gd name="T10" fmla="*/ 1656 w 1707"/>
              <a:gd name="T11" fmla="*/ 136 h 913"/>
              <a:gd name="T12" fmla="*/ 1600 w 1707"/>
              <a:gd name="T13" fmla="*/ 0 h 9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707" h="913">
                <a:moveTo>
                  <a:pt x="1600" y="0"/>
                </a:moveTo>
                <a:lnTo>
                  <a:pt x="107" y="0"/>
                </a:lnTo>
                <a:cubicBezTo>
                  <a:pt x="36" y="0"/>
                  <a:pt x="0" y="85"/>
                  <a:pt x="51" y="136"/>
                </a:cubicBezTo>
                <a:lnTo>
                  <a:pt x="797" y="882"/>
                </a:lnTo>
                <a:cubicBezTo>
                  <a:pt x="828" y="913"/>
                  <a:pt x="879" y="913"/>
                  <a:pt x="909" y="882"/>
                </a:cubicBezTo>
                <a:lnTo>
                  <a:pt x="1656" y="136"/>
                </a:lnTo>
                <a:cubicBezTo>
                  <a:pt x="1707" y="85"/>
                  <a:pt x="1671" y="0"/>
                  <a:pt x="1600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6" name="文本框 5"/>
          <p:cNvSpPr txBox="1"/>
          <p:nvPr/>
        </p:nvSpPr>
        <p:spPr>
          <a:xfrm>
            <a:off x="430530" y="4050665"/>
            <a:ext cx="1045845" cy="95313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 sz="2800" b="1">
                <a:latin typeface="宋体" panose="02010600030101010101" pitchFamily="2" charset="-122"/>
                <a:ea typeface="宋体" panose="02010600030101010101" pitchFamily="2" charset="-122"/>
              </a:rPr>
              <a:t>解析过程</a:t>
            </a:r>
            <a:endParaRPr lang="zh-CN" altLang="en-US" sz="2800" b="1">
              <a:latin typeface="宋体" panose="02010600030101010101" pitchFamily="2" charset="-122"/>
              <a:ea typeface="宋体" panose="02010600030101010101" pitchFamily="2" charset="-122"/>
            </a:endParaRPr>
          </a:p>
        </p:txBody>
      </p:sp>
      <p:cxnSp>
        <p:nvCxnSpPr>
          <p:cNvPr id="10" name="直接连接符 9"/>
          <p:cNvCxnSpPr/>
          <p:nvPr/>
        </p:nvCxnSpPr>
        <p:spPr>
          <a:xfrm>
            <a:off x="1630680" y="3477895"/>
            <a:ext cx="8255" cy="292925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文本框 17"/>
          <p:cNvSpPr txBox="1"/>
          <p:nvPr/>
        </p:nvSpPr>
        <p:spPr>
          <a:xfrm>
            <a:off x="371475" y="3261995"/>
            <a:ext cx="1045845" cy="52197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 sz="2800" b="1">
                <a:latin typeface="宋体" panose="02010600030101010101" pitchFamily="2" charset="-122"/>
                <a:ea typeface="宋体" panose="02010600030101010101" pitchFamily="2" charset="-122"/>
              </a:rPr>
              <a:t>法二</a:t>
            </a:r>
            <a:endParaRPr lang="zh-CN" altLang="en-US" sz="2800" b="1">
              <a:latin typeface="宋体" panose="02010600030101010101" pitchFamily="2" charset="-122"/>
              <a:ea typeface="宋体" panose="02010600030101010101" pitchFamily="2" charset="-122"/>
            </a:endParaRPr>
          </a:p>
        </p:txBody>
      </p:sp>
      <p:sp>
        <p:nvSpPr>
          <p:cNvPr id="103" name="文本框 102"/>
          <p:cNvSpPr txBox="1"/>
          <p:nvPr/>
        </p:nvSpPr>
        <p:spPr>
          <a:xfrm>
            <a:off x="1835150" y="3168015"/>
            <a:ext cx="5080000" cy="521970"/>
          </a:xfrm>
          <a:prstGeom prst="rect">
            <a:avLst/>
          </a:prstGeom>
          <a:noFill/>
          <a:ln w="9525">
            <a:noFill/>
          </a:ln>
        </p:spPr>
        <p:txBody>
          <a:bodyPr>
            <a:spAutoFit/>
          </a:bodyPr>
          <a:p>
            <a:pPr indent="0"/>
            <a:r>
              <a:rPr lang="zh-CN" sz="2800" b="0">
                <a:latin typeface="Times New Roman" panose="02020603050405020304" charset="0"/>
                <a:ea typeface="宋体" panose="02010600030101010101" pitchFamily="2" charset="-122"/>
              </a:rPr>
              <a:t>构建函数整体解决</a:t>
            </a:r>
            <a:endParaRPr lang="zh-CN" altLang="en-US" sz="2800" b="0">
              <a:latin typeface="Times New Roman" panose="02020603050405020304" charset="0"/>
              <a:ea typeface="宋体" panose="02010600030101010101" pitchFamily="2" charset="-122"/>
            </a:endParaRPr>
          </a:p>
        </p:txBody>
      </p:sp>
      <p:grpSp>
        <p:nvGrpSpPr>
          <p:cNvPr id="8" name="组合 7"/>
          <p:cNvGrpSpPr/>
          <p:nvPr/>
        </p:nvGrpSpPr>
        <p:grpSpPr>
          <a:xfrm>
            <a:off x="1743075" y="3682365"/>
            <a:ext cx="5495290" cy="1505585"/>
            <a:chOff x="2745" y="5799"/>
            <a:chExt cx="8654" cy="2371"/>
          </a:xfrm>
        </p:grpSpPr>
        <p:graphicFrame>
          <p:nvGraphicFramePr>
            <p:cNvPr id="5" name="对象 -2147482606"/>
            <p:cNvGraphicFramePr>
              <a:graphicFrameLocks noChangeAspect="1"/>
            </p:cNvGraphicFramePr>
            <p:nvPr/>
          </p:nvGraphicFramePr>
          <p:xfrm>
            <a:off x="2745" y="5799"/>
            <a:ext cx="8291" cy="1597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12" name="" r:id="rId2" imgW="2654300" imgH="508000" progId="Equation.KSEE3">
                    <p:embed/>
                  </p:oleObj>
                </mc:Choice>
                <mc:Fallback>
                  <p:oleObj name="" r:id="rId2" imgW="2654300" imgH="508000" progId="Equation.KSEE3">
                    <p:embed/>
                    <p:pic>
                      <p:nvPicPr>
                        <p:cNvPr id="0" name="图片 11"/>
                        <p:cNvPicPr/>
                        <p:nvPr/>
                      </p:nvPicPr>
                      <p:blipFill>
                        <a:blip r:embed="rId3"/>
                        <a:stretch>
                          <a:fillRect/>
                        </a:stretch>
                      </p:blipFill>
                      <p:spPr>
                        <a:xfrm>
                          <a:off x="2745" y="5799"/>
                          <a:ext cx="8291" cy="1597"/>
                        </a:xfrm>
                        <a:prstGeom prst="rect">
                          <a:avLst/>
                        </a:prstGeom>
                        <a:noFill/>
                        <a:ln w="38100">
                          <a:noFill/>
                          <a:miter/>
                        </a:ln>
                      </p:spPr>
                    </p:pic>
                  </p:oleObj>
                </mc:Fallback>
              </mc:AlternateContent>
            </a:graphicData>
          </a:graphic>
        </p:graphicFrame>
        <p:sp>
          <p:nvSpPr>
            <p:cNvPr id="14" name="文本框 13"/>
            <p:cNvSpPr txBox="1"/>
            <p:nvPr/>
          </p:nvSpPr>
          <p:spPr>
            <a:xfrm>
              <a:off x="3399" y="7396"/>
              <a:ext cx="8000" cy="774"/>
            </a:xfrm>
            <a:prstGeom prst="rect">
              <a:avLst/>
            </a:prstGeom>
            <a:noFill/>
            <a:ln w="9525">
              <a:noFill/>
            </a:ln>
          </p:spPr>
          <p:txBody>
            <a:bodyPr>
              <a:spAutoFit/>
            </a:bodyPr>
            <a:p>
              <a:pPr indent="0"/>
              <a:r>
                <a:rPr lang="zh-CN" sz="2600" b="0">
                  <a:latin typeface="Times New Roman" panose="02020603050405020304" charset="0"/>
                  <a:ea typeface="宋体" panose="02010600030101010101" pitchFamily="2" charset="-122"/>
                </a:rPr>
                <a:t>有两个互异的实数根</a:t>
              </a:r>
              <a:endParaRPr lang="zh-CN" altLang="en-US"/>
            </a:p>
          </p:txBody>
        </p:sp>
      </p:grpSp>
      <p:pic>
        <p:nvPicPr>
          <p:cNvPr id="15" name="图片 1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875905" y="3389630"/>
            <a:ext cx="2789555" cy="251079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2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2000"/>
                                        <p:tgtEl>
                                          <p:spTgt spid="10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2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2" dur="2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edge">
                                      <p:cBhvr>
                                        <p:cTn id="17" dur="1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3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>
          <a:xfrm>
            <a:off x="3797977" y="2797824"/>
            <a:ext cx="5419185" cy="895350"/>
          </a:xfrm>
        </p:spPr>
        <p:txBody>
          <a:bodyPr/>
          <a:lstStyle/>
          <a:p>
            <a:r>
              <a:rPr lang="zh-CN" altLang="en-US" sz="3600"/>
              <a:t>知识梳理</a:t>
            </a:r>
            <a:endParaRPr lang="zh-CN" altLang="en-US" sz="3600" dirty="0"/>
          </a:p>
        </p:txBody>
      </p:sp>
      <p:sp>
        <p:nvSpPr>
          <p:cNvPr id="9" name="文本框 8"/>
          <p:cNvSpPr txBox="1"/>
          <p:nvPr/>
        </p:nvSpPr>
        <p:spPr>
          <a:xfrm>
            <a:off x="3030062" y="2643188"/>
            <a:ext cx="767637" cy="667432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pPr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</a:pPr>
            <a:r>
              <a:rPr lang="en-US" altLang="zh-CN" b="1" u="none" spc="100" dirty="0">
                <a:solidFill>
                  <a:srgbClr val="00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Arial" panose="020B0604020202020204" pitchFamily="34" charset="0"/>
              </a:rPr>
              <a:t>/01</a:t>
            </a:r>
            <a:endParaRPr lang="en-US" altLang="zh-CN" b="1" u="none" spc="100" dirty="0">
              <a:solidFill>
                <a:srgbClr val="000000"/>
              </a:solidFill>
              <a:latin typeface="宋体" panose="02010600030101010101" pitchFamily="2" charset="-122"/>
              <a:ea typeface="宋体" panose="02010600030101010101" pitchFamily="2" charset="-122"/>
              <a:cs typeface="Arial" panose="020B0604020202020204" pitchFamily="34" charset="0"/>
            </a:endParaRPr>
          </a:p>
        </p:txBody>
      </p:sp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4" name="五边形 3"/>
          <p:cNvSpPr/>
          <p:nvPr/>
        </p:nvSpPr>
        <p:spPr>
          <a:xfrm>
            <a:off x="589915" y="404495"/>
            <a:ext cx="4131945" cy="619125"/>
          </a:xfrm>
          <a:prstGeom prst="homePlat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p>
            <a:r>
              <a:rPr lang="zh-CN">
                <a:sym typeface="+mn-ea"/>
              </a:rPr>
              <a:t>典型例题</a:t>
            </a:r>
            <a:r>
              <a:rPr lang="en-US" altLang="zh-CN">
                <a:sym typeface="+mn-ea"/>
              </a:rPr>
              <a:t>3</a:t>
            </a:r>
            <a:r>
              <a:rPr lang="en-US" altLang="zh-CN">
                <a:sym typeface="+mn-ea"/>
              </a:rPr>
              <a:t>·2018</a:t>
            </a:r>
            <a:r>
              <a:rPr lang="zh-CN">
                <a:sym typeface="+mn-ea"/>
              </a:rPr>
              <a:t>天津卷</a:t>
            </a:r>
            <a:endParaRPr lang="zh-CN"/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589915" y="1154430"/>
            <a:ext cx="10941685" cy="1760220"/>
          </a:xfrm>
          <a:prstGeom prst="rect">
            <a:avLst/>
          </a:prstGeom>
        </p:spPr>
      </p:pic>
      <p:sp>
        <p:nvSpPr>
          <p:cNvPr id="9" name="three-books_73757"/>
          <p:cNvSpPr>
            <a:spLocks noChangeAspect="1"/>
          </p:cNvSpPr>
          <p:nvPr/>
        </p:nvSpPr>
        <p:spPr bwMode="auto">
          <a:xfrm>
            <a:off x="11582358" y="6383442"/>
            <a:ext cx="609685" cy="474136"/>
          </a:xfrm>
          <a:custGeom>
            <a:avLst/>
            <a:gdLst>
              <a:gd name="T0" fmla="*/ 2471 w 2903"/>
              <a:gd name="T1" fmla="*/ 1598 h 2261"/>
              <a:gd name="T2" fmla="*/ 2471 w 2903"/>
              <a:gd name="T3" fmla="*/ 2127 h 2261"/>
              <a:gd name="T4" fmla="*/ 2505 w 2903"/>
              <a:gd name="T5" fmla="*/ 2127 h 2261"/>
              <a:gd name="T6" fmla="*/ 2572 w 2903"/>
              <a:gd name="T7" fmla="*/ 2194 h 2261"/>
              <a:gd name="T8" fmla="*/ 2505 w 2903"/>
              <a:gd name="T9" fmla="*/ 2261 h 2261"/>
              <a:gd name="T10" fmla="*/ 2405 w 2903"/>
              <a:gd name="T11" fmla="*/ 2261 h 2261"/>
              <a:gd name="T12" fmla="*/ 2124 w 2903"/>
              <a:gd name="T13" fmla="*/ 2261 h 2261"/>
              <a:gd name="T14" fmla="*/ 398 w 2903"/>
              <a:gd name="T15" fmla="*/ 2261 h 2261"/>
              <a:gd name="T16" fmla="*/ 0 w 2903"/>
              <a:gd name="T17" fmla="*/ 1863 h 2261"/>
              <a:gd name="T18" fmla="*/ 398 w 2903"/>
              <a:gd name="T19" fmla="*/ 1465 h 2261"/>
              <a:gd name="T20" fmla="*/ 2124 w 2903"/>
              <a:gd name="T21" fmla="*/ 1465 h 2261"/>
              <a:gd name="T22" fmla="*/ 2405 w 2903"/>
              <a:gd name="T23" fmla="*/ 1465 h 2261"/>
              <a:gd name="T24" fmla="*/ 2505 w 2903"/>
              <a:gd name="T25" fmla="*/ 1465 h 2261"/>
              <a:gd name="T26" fmla="*/ 2572 w 2903"/>
              <a:gd name="T27" fmla="*/ 1532 h 2261"/>
              <a:gd name="T28" fmla="*/ 2505 w 2903"/>
              <a:gd name="T29" fmla="*/ 1598 h 2261"/>
              <a:gd name="T30" fmla="*/ 2471 w 2903"/>
              <a:gd name="T31" fmla="*/ 1598 h 2261"/>
              <a:gd name="T32" fmla="*/ 2836 w 2903"/>
              <a:gd name="T33" fmla="*/ 1195 h 2261"/>
              <a:gd name="T34" fmla="*/ 2786 w 2903"/>
              <a:gd name="T35" fmla="*/ 1195 h 2261"/>
              <a:gd name="T36" fmla="*/ 2786 w 2903"/>
              <a:gd name="T37" fmla="*/ 786 h 2261"/>
              <a:gd name="T38" fmla="*/ 2836 w 2903"/>
              <a:gd name="T39" fmla="*/ 786 h 2261"/>
              <a:gd name="T40" fmla="*/ 2903 w 2903"/>
              <a:gd name="T41" fmla="*/ 720 h 2261"/>
              <a:gd name="T42" fmla="*/ 2836 w 2903"/>
              <a:gd name="T43" fmla="*/ 653 h 2261"/>
              <a:gd name="T44" fmla="*/ 2720 w 2903"/>
              <a:gd name="T45" fmla="*/ 653 h 2261"/>
              <a:gd name="T46" fmla="*/ 2455 w 2903"/>
              <a:gd name="T47" fmla="*/ 653 h 2261"/>
              <a:gd name="T48" fmla="*/ 1005 w 2903"/>
              <a:gd name="T49" fmla="*/ 653 h 2261"/>
              <a:gd name="T50" fmla="*/ 668 w 2903"/>
              <a:gd name="T51" fmla="*/ 991 h 2261"/>
              <a:gd name="T52" fmla="*/ 1005 w 2903"/>
              <a:gd name="T53" fmla="*/ 1328 h 2261"/>
              <a:gd name="T54" fmla="*/ 2455 w 2903"/>
              <a:gd name="T55" fmla="*/ 1328 h 2261"/>
              <a:gd name="T56" fmla="*/ 2720 w 2903"/>
              <a:gd name="T57" fmla="*/ 1328 h 2261"/>
              <a:gd name="T58" fmla="*/ 2836 w 2903"/>
              <a:gd name="T59" fmla="*/ 1328 h 2261"/>
              <a:gd name="T60" fmla="*/ 2903 w 2903"/>
              <a:gd name="T61" fmla="*/ 1262 h 2261"/>
              <a:gd name="T62" fmla="*/ 2836 w 2903"/>
              <a:gd name="T63" fmla="*/ 1195 h 2261"/>
              <a:gd name="T64" fmla="*/ 226 w 2903"/>
              <a:gd name="T65" fmla="*/ 405 h 2261"/>
              <a:gd name="T66" fmla="*/ 159 w 2903"/>
              <a:gd name="T67" fmla="*/ 472 h 2261"/>
              <a:gd name="T68" fmla="*/ 226 w 2903"/>
              <a:gd name="T69" fmla="*/ 539 h 2261"/>
              <a:gd name="T70" fmla="*/ 323 w 2903"/>
              <a:gd name="T71" fmla="*/ 539 h 2261"/>
              <a:gd name="T72" fmla="*/ 671 w 2903"/>
              <a:gd name="T73" fmla="*/ 539 h 2261"/>
              <a:gd name="T74" fmla="*/ 2248 w 2903"/>
              <a:gd name="T75" fmla="*/ 539 h 2261"/>
              <a:gd name="T76" fmla="*/ 2517 w 2903"/>
              <a:gd name="T77" fmla="*/ 269 h 2261"/>
              <a:gd name="T78" fmla="*/ 2248 w 2903"/>
              <a:gd name="T79" fmla="*/ 0 h 2261"/>
              <a:gd name="T80" fmla="*/ 671 w 2903"/>
              <a:gd name="T81" fmla="*/ 0 h 2261"/>
              <a:gd name="T82" fmla="*/ 323 w 2903"/>
              <a:gd name="T83" fmla="*/ 0 h 2261"/>
              <a:gd name="T84" fmla="*/ 226 w 2903"/>
              <a:gd name="T85" fmla="*/ 0 h 2261"/>
              <a:gd name="T86" fmla="*/ 159 w 2903"/>
              <a:gd name="T87" fmla="*/ 66 h 2261"/>
              <a:gd name="T88" fmla="*/ 226 w 2903"/>
              <a:gd name="T89" fmla="*/ 133 h 2261"/>
              <a:gd name="T90" fmla="*/ 257 w 2903"/>
              <a:gd name="T91" fmla="*/ 133 h 2261"/>
              <a:gd name="T92" fmla="*/ 257 w 2903"/>
              <a:gd name="T93" fmla="*/ 405 h 2261"/>
              <a:gd name="T94" fmla="*/ 226 w 2903"/>
              <a:gd name="T95" fmla="*/ 405 h 22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2903" h="2261">
                <a:moveTo>
                  <a:pt x="2471" y="1598"/>
                </a:moveTo>
                <a:lnTo>
                  <a:pt x="2471" y="2127"/>
                </a:lnTo>
                <a:lnTo>
                  <a:pt x="2505" y="2127"/>
                </a:lnTo>
                <a:cubicBezTo>
                  <a:pt x="2542" y="2127"/>
                  <a:pt x="2572" y="2157"/>
                  <a:pt x="2572" y="2194"/>
                </a:cubicBezTo>
                <a:cubicBezTo>
                  <a:pt x="2572" y="2231"/>
                  <a:pt x="2542" y="2261"/>
                  <a:pt x="2505" y="2261"/>
                </a:cubicBezTo>
                <a:lnTo>
                  <a:pt x="2405" y="2261"/>
                </a:lnTo>
                <a:lnTo>
                  <a:pt x="2124" y="2261"/>
                </a:lnTo>
                <a:lnTo>
                  <a:pt x="398" y="2261"/>
                </a:lnTo>
                <a:cubicBezTo>
                  <a:pt x="178" y="2261"/>
                  <a:pt x="0" y="2082"/>
                  <a:pt x="0" y="1863"/>
                </a:cubicBezTo>
                <a:cubicBezTo>
                  <a:pt x="0" y="1643"/>
                  <a:pt x="178" y="1465"/>
                  <a:pt x="398" y="1465"/>
                </a:cubicBezTo>
                <a:lnTo>
                  <a:pt x="2124" y="1465"/>
                </a:lnTo>
                <a:lnTo>
                  <a:pt x="2405" y="1465"/>
                </a:lnTo>
                <a:lnTo>
                  <a:pt x="2505" y="1465"/>
                </a:lnTo>
                <a:cubicBezTo>
                  <a:pt x="2542" y="1465"/>
                  <a:pt x="2572" y="1495"/>
                  <a:pt x="2572" y="1532"/>
                </a:cubicBezTo>
                <a:cubicBezTo>
                  <a:pt x="2572" y="1568"/>
                  <a:pt x="2542" y="1598"/>
                  <a:pt x="2505" y="1598"/>
                </a:cubicBezTo>
                <a:lnTo>
                  <a:pt x="2471" y="1598"/>
                </a:lnTo>
                <a:close/>
                <a:moveTo>
                  <a:pt x="2836" y="1195"/>
                </a:moveTo>
                <a:lnTo>
                  <a:pt x="2786" y="1195"/>
                </a:lnTo>
                <a:lnTo>
                  <a:pt x="2786" y="786"/>
                </a:lnTo>
                <a:lnTo>
                  <a:pt x="2836" y="786"/>
                </a:lnTo>
                <a:cubicBezTo>
                  <a:pt x="2873" y="786"/>
                  <a:pt x="2903" y="757"/>
                  <a:pt x="2903" y="720"/>
                </a:cubicBezTo>
                <a:cubicBezTo>
                  <a:pt x="2903" y="683"/>
                  <a:pt x="2873" y="653"/>
                  <a:pt x="2836" y="653"/>
                </a:cubicBezTo>
                <a:lnTo>
                  <a:pt x="2720" y="653"/>
                </a:lnTo>
                <a:lnTo>
                  <a:pt x="2455" y="653"/>
                </a:lnTo>
                <a:lnTo>
                  <a:pt x="1005" y="653"/>
                </a:lnTo>
                <a:cubicBezTo>
                  <a:pt x="819" y="653"/>
                  <a:pt x="668" y="805"/>
                  <a:pt x="668" y="991"/>
                </a:cubicBezTo>
                <a:cubicBezTo>
                  <a:pt x="668" y="1177"/>
                  <a:pt x="819" y="1328"/>
                  <a:pt x="1005" y="1328"/>
                </a:cubicBezTo>
                <a:lnTo>
                  <a:pt x="2455" y="1328"/>
                </a:lnTo>
                <a:lnTo>
                  <a:pt x="2720" y="1328"/>
                </a:lnTo>
                <a:lnTo>
                  <a:pt x="2836" y="1328"/>
                </a:lnTo>
                <a:cubicBezTo>
                  <a:pt x="2873" y="1328"/>
                  <a:pt x="2903" y="1299"/>
                  <a:pt x="2903" y="1262"/>
                </a:cubicBezTo>
                <a:cubicBezTo>
                  <a:pt x="2903" y="1225"/>
                  <a:pt x="2873" y="1195"/>
                  <a:pt x="2836" y="1195"/>
                </a:cubicBezTo>
                <a:close/>
                <a:moveTo>
                  <a:pt x="226" y="405"/>
                </a:moveTo>
                <a:cubicBezTo>
                  <a:pt x="189" y="405"/>
                  <a:pt x="159" y="435"/>
                  <a:pt x="159" y="472"/>
                </a:cubicBezTo>
                <a:cubicBezTo>
                  <a:pt x="159" y="509"/>
                  <a:pt x="189" y="539"/>
                  <a:pt x="226" y="539"/>
                </a:cubicBezTo>
                <a:lnTo>
                  <a:pt x="323" y="539"/>
                </a:lnTo>
                <a:lnTo>
                  <a:pt x="671" y="539"/>
                </a:lnTo>
                <a:lnTo>
                  <a:pt x="2248" y="539"/>
                </a:lnTo>
                <a:cubicBezTo>
                  <a:pt x="2396" y="539"/>
                  <a:pt x="2517" y="418"/>
                  <a:pt x="2517" y="269"/>
                </a:cubicBezTo>
                <a:cubicBezTo>
                  <a:pt x="2517" y="121"/>
                  <a:pt x="2396" y="0"/>
                  <a:pt x="2248" y="0"/>
                </a:cubicBezTo>
                <a:lnTo>
                  <a:pt x="671" y="0"/>
                </a:lnTo>
                <a:lnTo>
                  <a:pt x="323" y="0"/>
                </a:lnTo>
                <a:lnTo>
                  <a:pt x="226" y="0"/>
                </a:lnTo>
                <a:cubicBezTo>
                  <a:pt x="189" y="0"/>
                  <a:pt x="159" y="30"/>
                  <a:pt x="159" y="66"/>
                </a:cubicBezTo>
                <a:cubicBezTo>
                  <a:pt x="159" y="103"/>
                  <a:pt x="189" y="133"/>
                  <a:pt x="226" y="133"/>
                </a:cubicBezTo>
                <a:lnTo>
                  <a:pt x="257" y="133"/>
                </a:lnTo>
                <a:lnTo>
                  <a:pt x="257" y="405"/>
                </a:lnTo>
                <a:lnTo>
                  <a:pt x="226" y="405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7" name="up-triangle_59124"/>
          <p:cNvSpPr>
            <a:spLocks noChangeAspect="1"/>
          </p:cNvSpPr>
          <p:nvPr/>
        </p:nvSpPr>
        <p:spPr bwMode="auto">
          <a:xfrm>
            <a:off x="11582357" y="-248"/>
            <a:ext cx="609685" cy="325616"/>
          </a:xfrm>
          <a:custGeom>
            <a:avLst/>
            <a:gdLst>
              <a:gd name="T0" fmla="*/ 1600 w 1707"/>
              <a:gd name="T1" fmla="*/ 0 h 913"/>
              <a:gd name="T2" fmla="*/ 107 w 1707"/>
              <a:gd name="T3" fmla="*/ 0 h 913"/>
              <a:gd name="T4" fmla="*/ 51 w 1707"/>
              <a:gd name="T5" fmla="*/ 136 h 913"/>
              <a:gd name="T6" fmla="*/ 797 w 1707"/>
              <a:gd name="T7" fmla="*/ 882 h 913"/>
              <a:gd name="T8" fmla="*/ 909 w 1707"/>
              <a:gd name="T9" fmla="*/ 882 h 913"/>
              <a:gd name="T10" fmla="*/ 1656 w 1707"/>
              <a:gd name="T11" fmla="*/ 136 h 913"/>
              <a:gd name="T12" fmla="*/ 1600 w 1707"/>
              <a:gd name="T13" fmla="*/ 0 h 9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707" h="913">
                <a:moveTo>
                  <a:pt x="1600" y="0"/>
                </a:moveTo>
                <a:lnTo>
                  <a:pt x="107" y="0"/>
                </a:lnTo>
                <a:cubicBezTo>
                  <a:pt x="36" y="0"/>
                  <a:pt x="0" y="85"/>
                  <a:pt x="51" y="136"/>
                </a:cubicBezTo>
                <a:lnTo>
                  <a:pt x="797" y="882"/>
                </a:lnTo>
                <a:cubicBezTo>
                  <a:pt x="828" y="913"/>
                  <a:pt x="879" y="913"/>
                  <a:pt x="909" y="882"/>
                </a:cubicBezTo>
                <a:lnTo>
                  <a:pt x="1656" y="136"/>
                </a:lnTo>
                <a:cubicBezTo>
                  <a:pt x="1707" y="85"/>
                  <a:pt x="1671" y="0"/>
                  <a:pt x="1600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6" name="文本框 5"/>
          <p:cNvSpPr txBox="1"/>
          <p:nvPr/>
        </p:nvSpPr>
        <p:spPr>
          <a:xfrm>
            <a:off x="430530" y="4050665"/>
            <a:ext cx="1045845" cy="95313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 sz="2800" b="1">
                <a:latin typeface="宋体" panose="02010600030101010101" pitchFamily="2" charset="-122"/>
                <a:ea typeface="宋体" panose="02010600030101010101" pitchFamily="2" charset="-122"/>
              </a:rPr>
              <a:t>解析过程</a:t>
            </a:r>
            <a:endParaRPr lang="zh-CN" altLang="en-US" sz="2800" b="1">
              <a:latin typeface="宋体" panose="02010600030101010101" pitchFamily="2" charset="-122"/>
              <a:ea typeface="宋体" panose="02010600030101010101" pitchFamily="2" charset="-122"/>
            </a:endParaRPr>
          </a:p>
        </p:txBody>
      </p:sp>
      <p:cxnSp>
        <p:nvCxnSpPr>
          <p:cNvPr id="10" name="直接连接符 9"/>
          <p:cNvCxnSpPr/>
          <p:nvPr/>
        </p:nvCxnSpPr>
        <p:spPr>
          <a:xfrm>
            <a:off x="1630680" y="3477895"/>
            <a:ext cx="8255" cy="292925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文本框 17"/>
          <p:cNvSpPr txBox="1"/>
          <p:nvPr/>
        </p:nvSpPr>
        <p:spPr>
          <a:xfrm>
            <a:off x="371475" y="3261995"/>
            <a:ext cx="1045845" cy="52197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 sz="2800" b="1">
                <a:latin typeface="宋体" panose="02010600030101010101" pitchFamily="2" charset="-122"/>
                <a:ea typeface="宋体" panose="02010600030101010101" pitchFamily="2" charset="-122"/>
              </a:rPr>
              <a:t>法二</a:t>
            </a:r>
            <a:endParaRPr lang="zh-CN" altLang="en-US" sz="2800" b="1">
              <a:latin typeface="宋体" panose="02010600030101010101" pitchFamily="2" charset="-122"/>
              <a:ea typeface="宋体" panose="02010600030101010101" pitchFamily="2" charset="-122"/>
            </a:endParaRPr>
          </a:p>
        </p:txBody>
      </p:sp>
      <p:graphicFrame>
        <p:nvGraphicFramePr>
          <p:cNvPr id="5" name="对象 -2147482605"/>
          <p:cNvGraphicFramePr>
            <a:graphicFrameLocks noChangeAspect="1"/>
          </p:cNvGraphicFramePr>
          <p:nvPr/>
        </p:nvGraphicFramePr>
        <p:xfrm>
          <a:off x="2567623" y="3261678"/>
          <a:ext cx="5283835" cy="27686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6" name="" r:id="rId2" imgW="2489200" imgH="1295400" progId="Equation.KSEE3">
                  <p:embed/>
                </p:oleObj>
              </mc:Choice>
              <mc:Fallback>
                <p:oleObj name="" r:id="rId2" imgW="2489200" imgH="1295400" progId="Equation.KSEE3">
                  <p:embed/>
                  <p:pic>
                    <p:nvPicPr>
                      <p:cNvPr id="0" name="图片 3075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2567623" y="3261678"/>
                        <a:ext cx="5283835" cy="2768600"/>
                      </a:xfrm>
                      <a:prstGeom prst="rect">
                        <a:avLst/>
                      </a:prstGeom>
                      <a:noFill/>
                      <a:ln w="38100">
                        <a:noFill/>
                        <a:miter/>
                      </a:ln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5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4" name="五边形 3"/>
          <p:cNvSpPr/>
          <p:nvPr/>
        </p:nvSpPr>
        <p:spPr>
          <a:xfrm>
            <a:off x="589915" y="404495"/>
            <a:ext cx="4131945" cy="619125"/>
          </a:xfrm>
          <a:prstGeom prst="homePlat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p>
            <a:r>
              <a:rPr lang="zh-CN">
                <a:sym typeface="+mn-ea"/>
              </a:rPr>
              <a:t>典型例题</a:t>
            </a:r>
            <a:r>
              <a:rPr lang="en-US" altLang="zh-CN">
                <a:sym typeface="+mn-ea"/>
              </a:rPr>
              <a:t>3</a:t>
            </a:r>
            <a:r>
              <a:rPr lang="en-US" altLang="zh-CN">
                <a:sym typeface="+mn-ea"/>
              </a:rPr>
              <a:t>·2018</a:t>
            </a:r>
            <a:r>
              <a:rPr lang="zh-CN">
                <a:sym typeface="+mn-ea"/>
              </a:rPr>
              <a:t>天津卷</a:t>
            </a:r>
            <a:endParaRPr lang="zh-CN"/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589915" y="1154430"/>
            <a:ext cx="10941685" cy="1760220"/>
          </a:xfrm>
          <a:prstGeom prst="rect">
            <a:avLst/>
          </a:prstGeom>
        </p:spPr>
      </p:pic>
      <p:sp>
        <p:nvSpPr>
          <p:cNvPr id="9" name="three-books_73757"/>
          <p:cNvSpPr>
            <a:spLocks noChangeAspect="1"/>
          </p:cNvSpPr>
          <p:nvPr/>
        </p:nvSpPr>
        <p:spPr bwMode="auto">
          <a:xfrm>
            <a:off x="11582358" y="6383442"/>
            <a:ext cx="609685" cy="474136"/>
          </a:xfrm>
          <a:custGeom>
            <a:avLst/>
            <a:gdLst>
              <a:gd name="T0" fmla="*/ 2471 w 2903"/>
              <a:gd name="T1" fmla="*/ 1598 h 2261"/>
              <a:gd name="T2" fmla="*/ 2471 w 2903"/>
              <a:gd name="T3" fmla="*/ 2127 h 2261"/>
              <a:gd name="T4" fmla="*/ 2505 w 2903"/>
              <a:gd name="T5" fmla="*/ 2127 h 2261"/>
              <a:gd name="T6" fmla="*/ 2572 w 2903"/>
              <a:gd name="T7" fmla="*/ 2194 h 2261"/>
              <a:gd name="T8" fmla="*/ 2505 w 2903"/>
              <a:gd name="T9" fmla="*/ 2261 h 2261"/>
              <a:gd name="T10" fmla="*/ 2405 w 2903"/>
              <a:gd name="T11" fmla="*/ 2261 h 2261"/>
              <a:gd name="T12" fmla="*/ 2124 w 2903"/>
              <a:gd name="T13" fmla="*/ 2261 h 2261"/>
              <a:gd name="T14" fmla="*/ 398 w 2903"/>
              <a:gd name="T15" fmla="*/ 2261 h 2261"/>
              <a:gd name="T16" fmla="*/ 0 w 2903"/>
              <a:gd name="T17" fmla="*/ 1863 h 2261"/>
              <a:gd name="T18" fmla="*/ 398 w 2903"/>
              <a:gd name="T19" fmla="*/ 1465 h 2261"/>
              <a:gd name="T20" fmla="*/ 2124 w 2903"/>
              <a:gd name="T21" fmla="*/ 1465 h 2261"/>
              <a:gd name="T22" fmla="*/ 2405 w 2903"/>
              <a:gd name="T23" fmla="*/ 1465 h 2261"/>
              <a:gd name="T24" fmla="*/ 2505 w 2903"/>
              <a:gd name="T25" fmla="*/ 1465 h 2261"/>
              <a:gd name="T26" fmla="*/ 2572 w 2903"/>
              <a:gd name="T27" fmla="*/ 1532 h 2261"/>
              <a:gd name="T28" fmla="*/ 2505 w 2903"/>
              <a:gd name="T29" fmla="*/ 1598 h 2261"/>
              <a:gd name="T30" fmla="*/ 2471 w 2903"/>
              <a:gd name="T31" fmla="*/ 1598 h 2261"/>
              <a:gd name="T32" fmla="*/ 2836 w 2903"/>
              <a:gd name="T33" fmla="*/ 1195 h 2261"/>
              <a:gd name="T34" fmla="*/ 2786 w 2903"/>
              <a:gd name="T35" fmla="*/ 1195 h 2261"/>
              <a:gd name="T36" fmla="*/ 2786 w 2903"/>
              <a:gd name="T37" fmla="*/ 786 h 2261"/>
              <a:gd name="T38" fmla="*/ 2836 w 2903"/>
              <a:gd name="T39" fmla="*/ 786 h 2261"/>
              <a:gd name="T40" fmla="*/ 2903 w 2903"/>
              <a:gd name="T41" fmla="*/ 720 h 2261"/>
              <a:gd name="T42" fmla="*/ 2836 w 2903"/>
              <a:gd name="T43" fmla="*/ 653 h 2261"/>
              <a:gd name="T44" fmla="*/ 2720 w 2903"/>
              <a:gd name="T45" fmla="*/ 653 h 2261"/>
              <a:gd name="T46" fmla="*/ 2455 w 2903"/>
              <a:gd name="T47" fmla="*/ 653 h 2261"/>
              <a:gd name="T48" fmla="*/ 1005 w 2903"/>
              <a:gd name="T49" fmla="*/ 653 h 2261"/>
              <a:gd name="T50" fmla="*/ 668 w 2903"/>
              <a:gd name="T51" fmla="*/ 991 h 2261"/>
              <a:gd name="T52" fmla="*/ 1005 w 2903"/>
              <a:gd name="T53" fmla="*/ 1328 h 2261"/>
              <a:gd name="T54" fmla="*/ 2455 w 2903"/>
              <a:gd name="T55" fmla="*/ 1328 h 2261"/>
              <a:gd name="T56" fmla="*/ 2720 w 2903"/>
              <a:gd name="T57" fmla="*/ 1328 h 2261"/>
              <a:gd name="T58" fmla="*/ 2836 w 2903"/>
              <a:gd name="T59" fmla="*/ 1328 h 2261"/>
              <a:gd name="T60" fmla="*/ 2903 w 2903"/>
              <a:gd name="T61" fmla="*/ 1262 h 2261"/>
              <a:gd name="T62" fmla="*/ 2836 w 2903"/>
              <a:gd name="T63" fmla="*/ 1195 h 2261"/>
              <a:gd name="T64" fmla="*/ 226 w 2903"/>
              <a:gd name="T65" fmla="*/ 405 h 2261"/>
              <a:gd name="T66" fmla="*/ 159 w 2903"/>
              <a:gd name="T67" fmla="*/ 472 h 2261"/>
              <a:gd name="T68" fmla="*/ 226 w 2903"/>
              <a:gd name="T69" fmla="*/ 539 h 2261"/>
              <a:gd name="T70" fmla="*/ 323 w 2903"/>
              <a:gd name="T71" fmla="*/ 539 h 2261"/>
              <a:gd name="T72" fmla="*/ 671 w 2903"/>
              <a:gd name="T73" fmla="*/ 539 h 2261"/>
              <a:gd name="T74" fmla="*/ 2248 w 2903"/>
              <a:gd name="T75" fmla="*/ 539 h 2261"/>
              <a:gd name="T76" fmla="*/ 2517 w 2903"/>
              <a:gd name="T77" fmla="*/ 269 h 2261"/>
              <a:gd name="T78" fmla="*/ 2248 w 2903"/>
              <a:gd name="T79" fmla="*/ 0 h 2261"/>
              <a:gd name="T80" fmla="*/ 671 w 2903"/>
              <a:gd name="T81" fmla="*/ 0 h 2261"/>
              <a:gd name="T82" fmla="*/ 323 w 2903"/>
              <a:gd name="T83" fmla="*/ 0 h 2261"/>
              <a:gd name="T84" fmla="*/ 226 w 2903"/>
              <a:gd name="T85" fmla="*/ 0 h 2261"/>
              <a:gd name="T86" fmla="*/ 159 w 2903"/>
              <a:gd name="T87" fmla="*/ 66 h 2261"/>
              <a:gd name="T88" fmla="*/ 226 w 2903"/>
              <a:gd name="T89" fmla="*/ 133 h 2261"/>
              <a:gd name="T90" fmla="*/ 257 w 2903"/>
              <a:gd name="T91" fmla="*/ 133 h 2261"/>
              <a:gd name="T92" fmla="*/ 257 w 2903"/>
              <a:gd name="T93" fmla="*/ 405 h 2261"/>
              <a:gd name="T94" fmla="*/ 226 w 2903"/>
              <a:gd name="T95" fmla="*/ 405 h 22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2903" h="2261">
                <a:moveTo>
                  <a:pt x="2471" y="1598"/>
                </a:moveTo>
                <a:lnTo>
                  <a:pt x="2471" y="2127"/>
                </a:lnTo>
                <a:lnTo>
                  <a:pt x="2505" y="2127"/>
                </a:lnTo>
                <a:cubicBezTo>
                  <a:pt x="2542" y="2127"/>
                  <a:pt x="2572" y="2157"/>
                  <a:pt x="2572" y="2194"/>
                </a:cubicBezTo>
                <a:cubicBezTo>
                  <a:pt x="2572" y="2231"/>
                  <a:pt x="2542" y="2261"/>
                  <a:pt x="2505" y="2261"/>
                </a:cubicBezTo>
                <a:lnTo>
                  <a:pt x="2405" y="2261"/>
                </a:lnTo>
                <a:lnTo>
                  <a:pt x="2124" y="2261"/>
                </a:lnTo>
                <a:lnTo>
                  <a:pt x="398" y="2261"/>
                </a:lnTo>
                <a:cubicBezTo>
                  <a:pt x="178" y="2261"/>
                  <a:pt x="0" y="2082"/>
                  <a:pt x="0" y="1863"/>
                </a:cubicBezTo>
                <a:cubicBezTo>
                  <a:pt x="0" y="1643"/>
                  <a:pt x="178" y="1465"/>
                  <a:pt x="398" y="1465"/>
                </a:cubicBezTo>
                <a:lnTo>
                  <a:pt x="2124" y="1465"/>
                </a:lnTo>
                <a:lnTo>
                  <a:pt x="2405" y="1465"/>
                </a:lnTo>
                <a:lnTo>
                  <a:pt x="2505" y="1465"/>
                </a:lnTo>
                <a:cubicBezTo>
                  <a:pt x="2542" y="1465"/>
                  <a:pt x="2572" y="1495"/>
                  <a:pt x="2572" y="1532"/>
                </a:cubicBezTo>
                <a:cubicBezTo>
                  <a:pt x="2572" y="1568"/>
                  <a:pt x="2542" y="1598"/>
                  <a:pt x="2505" y="1598"/>
                </a:cubicBezTo>
                <a:lnTo>
                  <a:pt x="2471" y="1598"/>
                </a:lnTo>
                <a:close/>
                <a:moveTo>
                  <a:pt x="2836" y="1195"/>
                </a:moveTo>
                <a:lnTo>
                  <a:pt x="2786" y="1195"/>
                </a:lnTo>
                <a:lnTo>
                  <a:pt x="2786" y="786"/>
                </a:lnTo>
                <a:lnTo>
                  <a:pt x="2836" y="786"/>
                </a:lnTo>
                <a:cubicBezTo>
                  <a:pt x="2873" y="786"/>
                  <a:pt x="2903" y="757"/>
                  <a:pt x="2903" y="720"/>
                </a:cubicBezTo>
                <a:cubicBezTo>
                  <a:pt x="2903" y="683"/>
                  <a:pt x="2873" y="653"/>
                  <a:pt x="2836" y="653"/>
                </a:cubicBezTo>
                <a:lnTo>
                  <a:pt x="2720" y="653"/>
                </a:lnTo>
                <a:lnTo>
                  <a:pt x="2455" y="653"/>
                </a:lnTo>
                <a:lnTo>
                  <a:pt x="1005" y="653"/>
                </a:lnTo>
                <a:cubicBezTo>
                  <a:pt x="819" y="653"/>
                  <a:pt x="668" y="805"/>
                  <a:pt x="668" y="991"/>
                </a:cubicBezTo>
                <a:cubicBezTo>
                  <a:pt x="668" y="1177"/>
                  <a:pt x="819" y="1328"/>
                  <a:pt x="1005" y="1328"/>
                </a:cubicBezTo>
                <a:lnTo>
                  <a:pt x="2455" y="1328"/>
                </a:lnTo>
                <a:lnTo>
                  <a:pt x="2720" y="1328"/>
                </a:lnTo>
                <a:lnTo>
                  <a:pt x="2836" y="1328"/>
                </a:lnTo>
                <a:cubicBezTo>
                  <a:pt x="2873" y="1328"/>
                  <a:pt x="2903" y="1299"/>
                  <a:pt x="2903" y="1262"/>
                </a:cubicBezTo>
                <a:cubicBezTo>
                  <a:pt x="2903" y="1225"/>
                  <a:pt x="2873" y="1195"/>
                  <a:pt x="2836" y="1195"/>
                </a:cubicBezTo>
                <a:close/>
                <a:moveTo>
                  <a:pt x="226" y="405"/>
                </a:moveTo>
                <a:cubicBezTo>
                  <a:pt x="189" y="405"/>
                  <a:pt x="159" y="435"/>
                  <a:pt x="159" y="472"/>
                </a:cubicBezTo>
                <a:cubicBezTo>
                  <a:pt x="159" y="509"/>
                  <a:pt x="189" y="539"/>
                  <a:pt x="226" y="539"/>
                </a:cubicBezTo>
                <a:lnTo>
                  <a:pt x="323" y="539"/>
                </a:lnTo>
                <a:lnTo>
                  <a:pt x="671" y="539"/>
                </a:lnTo>
                <a:lnTo>
                  <a:pt x="2248" y="539"/>
                </a:lnTo>
                <a:cubicBezTo>
                  <a:pt x="2396" y="539"/>
                  <a:pt x="2517" y="418"/>
                  <a:pt x="2517" y="269"/>
                </a:cubicBezTo>
                <a:cubicBezTo>
                  <a:pt x="2517" y="121"/>
                  <a:pt x="2396" y="0"/>
                  <a:pt x="2248" y="0"/>
                </a:cubicBezTo>
                <a:lnTo>
                  <a:pt x="671" y="0"/>
                </a:lnTo>
                <a:lnTo>
                  <a:pt x="323" y="0"/>
                </a:lnTo>
                <a:lnTo>
                  <a:pt x="226" y="0"/>
                </a:lnTo>
                <a:cubicBezTo>
                  <a:pt x="189" y="0"/>
                  <a:pt x="159" y="30"/>
                  <a:pt x="159" y="66"/>
                </a:cubicBezTo>
                <a:cubicBezTo>
                  <a:pt x="159" y="103"/>
                  <a:pt x="189" y="133"/>
                  <a:pt x="226" y="133"/>
                </a:cubicBezTo>
                <a:lnTo>
                  <a:pt x="257" y="133"/>
                </a:lnTo>
                <a:lnTo>
                  <a:pt x="257" y="405"/>
                </a:lnTo>
                <a:lnTo>
                  <a:pt x="226" y="405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7" name="up-triangle_59124"/>
          <p:cNvSpPr>
            <a:spLocks noChangeAspect="1"/>
          </p:cNvSpPr>
          <p:nvPr/>
        </p:nvSpPr>
        <p:spPr bwMode="auto">
          <a:xfrm>
            <a:off x="11582357" y="-248"/>
            <a:ext cx="609685" cy="325616"/>
          </a:xfrm>
          <a:custGeom>
            <a:avLst/>
            <a:gdLst>
              <a:gd name="T0" fmla="*/ 1600 w 1707"/>
              <a:gd name="T1" fmla="*/ 0 h 913"/>
              <a:gd name="T2" fmla="*/ 107 w 1707"/>
              <a:gd name="T3" fmla="*/ 0 h 913"/>
              <a:gd name="T4" fmla="*/ 51 w 1707"/>
              <a:gd name="T5" fmla="*/ 136 h 913"/>
              <a:gd name="T6" fmla="*/ 797 w 1707"/>
              <a:gd name="T7" fmla="*/ 882 h 913"/>
              <a:gd name="T8" fmla="*/ 909 w 1707"/>
              <a:gd name="T9" fmla="*/ 882 h 913"/>
              <a:gd name="T10" fmla="*/ 1656 w 1707"/>
              <a:gd name="T11" fmla="*/ 136 h 913"/>
              <a:gd name="T12" fmla="*/ 1600 w 1707"/>
              <a:gd name="T13" fmla="*/ 0 h 9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707" h="913">
                <a:moveTo>
                  <a:pt x="1600" y="0"/>
                </a:moveTo>
                <a:lnTo>
                  <a:pt x="107" y="0"/>
                </a:lnTo>
                <a:cubicBezTo>
                  <a:pt x="36" y="0"/>
                  <a:pt x="0" y="85"/>
                  <a:pt x="51" y="136"/>
                </a:cubicBezTo>
                <a:lnTo>
                  <a:pt x="797" y="882"/>
                </a:lnTo>
                <a:cubicBezTo>
                  <a:pt x="828" y="913"/>
                  <a:pt x="879" y="913"/>
                  <a:pt x="909" y="882"/>
                </a:cubicBezTo>
                <a:lnTo>
                  <a:pt x="1656" y="136"/>
                </a:lnTo>
                <a:cubicBezTo>
                  <a:pt x="1707" y="85"/>
                  <a:pt x="1671" y="0"/>
                  <a:pt x="1600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6" name="文本框 5"/>
          <p:cNvSpPr txBox="1"/>
          <p:nvPr/>
        </p:nvSpPr>
        <p:spPr>
          <a:xfrm>
            <a:off x="430530" y="4050665"/>
            <a:ext cx="1045845" cy="95313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 sz="2800" b="1">
                <a:latin typeface="宋体" panose="02010600030101010101" pitchFamily="2" charset="-122"/>
                <a:ea typeface="宋体" panose="02010600030101010101" pitchFamily="2" charset="-122"/>
              </a:rPr>
              <a:t>解析过程</a:t>
            </a:r>
            <a:endParaRPr lang="zh-CN" altLang="en-US" sz="2800" b="1">
              <a:latin typeface="宋体" panose="02010600030101010101" pitchFamily="2" charset="-122"/>
              <a:ea typeface="宋体" panose="02010600030101010101" pitchFamily="2" charset="-122"/>
            </a:endParaRPr>
          </a:p>
        </p:txBody>
      </p:sp>
      <p:cxnSp>
        <p:nvCxnSpPr>
          <p:cNvPr id="10" name="直接连接符 9"/>
          <p:cNvCxnSpPr/>
          <p:nvPr/>
        </p:nvCxnSpPr>
        <p:spPr>
          <a:xfrm>
            <a:off x="1630680" y="3477895"/>
            <a:ext cx="8255" cy="292925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文本框 17"/>
          <p:cNvSpPr txBox="1"/>
          <p:nvPr/>
        </p:nvSpPr>
        <p:spPr>
          <a:xfrm>
            <a:off x="371475" y="3261995"/>
            <a:ext cx="1045845" cy="52197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 sz="2800" b="1">
                <a:latin typeface="宋体" panose="02010600030101010101" pitchFamily="2" charset="-122"/>
                <a:ea typeface="宋体" panose="02010600030101010101" pitchFamily="2" charset="-122"/>
              </a:rPr>
              <a:t>法二</a:t>
            </a:r>
            <a:endParaRPr lang="zh-CN" altLang="en-US" sz="2800" b="1">
              <a:latin typeface="宋体" panose="02010600030101010101" pitchFamily="2" charset="-122"/>
              <a:ea typeface="宋体" panose="02010600030101010101" pitchFamily="2" charset="-122"/>
            </a:endParaRPr>
          </a:p>
        </p:txBody>
      </p:sp>
      <p:pic>
        <p:nvPicPr>
          <p:cNvPr id="8" name="图片 2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98015" y="3032125"/>
            <a:ext cx="2406650" cy="2263140"/>
          </a:xfrm>
          <a:prstGeom prst="rect">
            <a:avLst/>
          </a:prstGeom>
          <a:noFill/>
          <a:ln>
            <a:noFill/>
          </a:ln>
        </p:spPr>
      </p:pic>
      <p:graphicFrame>
        <p:nvGraphicFramePr>
          <p:cNvPr id="5" name="对象 -2147482599"/>
          <p:cNvGraphicFramePr>
            <a:graphicFrameLocks noChangeAspect="1"/>
          </p:cNvGraphicFramePr>
          <p:nvPr/>
        </p:nvGraphicFramePr>
        <p:xfrm>
          <a:off x="1719580" y="5554345"/>
          <a:ext cx="3128010" cy="82931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" name="" r:id="rId3" imgW="1930400" imgH="508000" progId="Equation.KSEE3">
                  <p:embed/>
                </p:oleObj>
              </mc:Choice>
              <mc:Fallback>
                <p:oleObj name="" r:id="rId3" imgW="1930400" imgH="508000" progId="Equation.KSEE3">
                  <p:embed/>
                  <p:pic>
                    <p:nvPicPr>
                      <p:cNvPr id="0" name="图片 10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719580" y="5554345"/>
                        <a:ext cx="3128010" cy="829310"/>
                      </a:xfrm>
                      <a:prstGeom prst="rect">
                        <a:avLst/>
                      </a:prstGeom>
                      <a:noFill/>
                      <a:ln w="38100">
                        <a:noFill/>
                        <a:miter/>
                      </a:ln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图片 1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679440" y="3261995"/>
            <a:ext cx="1984375" cy="2044065"/>
          </a:xfrm>
          <a:prstGeom prst="rect">
            <a:avLst/>
          </a:prstGeom>
        </p:spPr>
      </p:pic>
      <p:graphicFrame>
        <p:nvGraphicFramePr>
          <p:cNvPr id="13" name="对象 -2147482598"/>
          <p:cNvGraphicFramePr>
            <a:graphicFrameLocks noChangeAspect="1"/>
          </p:cNvGraphicFramePr>
          <p:nvPr/>
        </p:nvGraphicFramePr>
        <p:xfrm>
          <a:off x="5262245" y="5554345"/>
          <a:ext cx="2980690" cy="85217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" name="" r:id="rId6" imgW="1790700" imgH="508000" progId="Equation.KSEE3">
                  <p:embed/>
                </p:oleObj>
              </mc:Choice>
              <mc:Fallback>
                <p:oleObj name="" r:id="rId6" imgW="1790700" imgH="508000" progId="Equation.KSEE3">
                  <p:embed/>
                  <p:pic>
                    <p:nvPicPr>
                      <p:cNvPr id="0" name="图片 12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5262245" y="5554345"/>
                        <a:ext cx="2980690" cy="852170"/>
                      </a:xfrm>
                      <a:prstGeom prst="rect">
                        <a:avLst/>
                      </a:prstGeom>
                      <a:noFill/>
                      <a:ln w="38100">
                        <a:noFill/>
                        <a:miter/>
                      </a:ln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图片 14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271635" y="3417570"/>
            <a:ext cx="2012950" cy="2027555"/>
          </a:xfrm>
          <a:prstGeom prst="rect">
            <a:avLst/>
          </a:prstGeom>
        </p:spPr>
      </p:pic>
      <p:graphicFrame>
        <p:nvGraphicFramePr>
          <p:cNvPr id="16" name="对象 -2147482597"/>
          <p:cNvGraphicFramePr>
            <a:graphicFrameLocks noChangeAspect="1"/>
          </p:cNvGraphicFramePr>
          <p:nvPr/>
        </p:nvGraphicFramePr>
        <p:xfrm>
          <a:off x="8827770" y="5572760"/>
          <a:ext cx="2900680" cy="8286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" name="" r:id="rId9" imgW="1790700" imgH="508000" progId="Equation.KSEE3">
                  <p:embed/>
                </p:oleObj>
              </mc:Choice>
              <mc:Fallback>
                <p:oleObj name="" r:id="rId9" imgW="1790700" imgH="508000" progId="Equation.KSEE3">
                  <p:embed/>
                  <p:pic>
                    <p:nvPicPr>
                      <p:cNvPr id="0" name="图片 14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8827770" y="5572760"/>
                        <a:ext cx="2900680" cy="828675"/>
                      </a:xfrm>
                      <a:prstGeom prst="rect">
                        <a:avLst/>
                      </a:prstGeom>
                      <a:noFill/>
                      <a:ln w="38100">
                        <a:noFill/>
                        <a:miter/>
                      </a:ln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8" presetClass="entr" presetSubtype="1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2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Left)">
                                      <p:cBhvr>
                                        <p:cTn id="7" dur="2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8" presetClass="entr" presetSubtype="1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2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Left)">
                                      <p:cBhvr>
                                        <p:cTn id="12" dur="2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8" presetClass="entr" presetSubtype="1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2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Left)">
                                      <p:cBhvr>
                                        <p:cTn id="17" dur="2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2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2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2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" dur="2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2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2" dur="2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直接连接符 10"/>
          <p:cNvCxnSpPr/>
          <p:nvPr/>
        </p:nvCxnSpPr>
        <p:spPr>
          <a:xfrm flipH="1">
            <a:off x="1907015" y="690880"/>
            <a:ext cx="9610" cy="5430515"/>
          </a:xfrm>
          <a:prstGeom prst="line">
            <a:avLst/>
          </a:prstGeom>
          <a:solidFill>
            <a:srgbClr val="FFCC00"/>
          </a:solidFill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2" name="poetry_91022"/>
          <p:cNvSpPr>
            <a:spLocks noChangeAspect="1"/>
          </p:cNvSpPr>
          <p:nvPr>
            <p:custDataLst>
              <p:tags r:id="rId1"/>
            </p:custDataLst>
          </p:nvPr>
        </p:nvSpPr>
        <p:spPr bwMode="auto">
          <a:xfrm>
            <a:off x="469265" y="5129001"/>
            <a:ext cx="898119" cy="1241320"/>
          </a:xfrm>
          <a:custGeom>
            <a:avLst/>
            <a:gdLst>
              <a:gd name="T0" fmla="*/ 3353 w 5127"/>
              <a:gd name="T1" fmla="*/ 1728 h 5401"/>
              <a:gd name="T2" fmla="*/ 2183 w 5127"/>
              <a:gd name="T3" fmla="*/ 1608 h 5401"/>
              <a:gd name="T4" fmla="*/ 3353 w 5127"/>
              <a:gd name="T5" fmla="*/ 1488 h 5401"/>
              <a:gd name="T6" fmla="*/ 3103 w 5127"/>
              <a:gd name="T7" fmla="*/ 2231 h 5401"/>
              <a:gd name="T8" fmla="*/ 3103 w 5127"/>
              <a:gd name="T9" fmla="*/ 1991 h 5401"/>
              <a:gd name="T10" fmla="*/ 2432 w 5127"/>
              <a:gd name="T11" fmla="*/ 2111 h 5401"/>
              <a:gd name="T12" fmla="*/ 3103 w 5127"/>
              <a:gd name="T13" fmla="*/ 2231 h 5401"/>
              <a:gd name="T14" fmla="*/ 3353 w 5127"/>
              <a:gd name="T15" fmla="*/ 2648 h 5401"/>
              <a:gd name="T16" fmla="*/ 2183 w 5127"/>
              <a:gd name="T17" fmla="*/ 2768 h 5401"/>
              <a:gd name="T18" fmla="*/ 3353 w 5127"/>
              <a:gd name="T19" fmla="*/ 2888 h 5401"/>
              <a:gd name="T20" fmla="*/ 2552 w 5127"/>
              <a:gd name="T21" fmla="*/ 3151 h 5401"/>
              <a:gd name="T22" fmla="*/ 2552 w 5127"/>
              <a:gd name="T23" fmla="*/ 3391 h 5401"/>
              <a:gd name="T24" fmla="*/ 3223 w 5127"/>
              <a:gd name="T25" fmla="*/ 3271 h 5401"/>
              <a:gd name="T26" fmla="*/ 2552 w 5127"/>
              <a:gd name="T27" fmla="*/ 3151 h 5401"/>
              <a:gd name="T28" fmla="*/ 4448 w 5127"/>
              <a:gd name="T29" fmla="*/ 1442 h 5401"/>
              <a:gd name="T30" fmla="*/ 4688 w 5127"/>
              <a:gd name="T31" fmla="*/ 1442 h 5401"/>
              <a:gd name="T32" fmla="*/ 3988 w 5127"/>
              <a:gd name="T33" fmla="*/ 0 h 5401"/>
              <a:gd name="T34" fmla="*/ 0 w 5127"/>
              <a:gd name="T35" fmla="*/ 604 h 5401"/>
              <a:gd name="T36" fmla="*/ 120 w 5127"/>
              <a:gd name="T37" fmla="*/ 1792 h 5401"/>
              <a:gd name="T38" fmla="*/ 686 w 5127"/>
              <a:gd name="T39" fmla="*/ 1672 h 5401"/>
              <a:gd name="T40" fmla="*/ 240 w 5127"/>
              <a:gd name="T41" fmla="*/ 1552 h 5401"/>
              <a:gd name="T42" fmla="*/ 604 w 5127"/>
              <a:gd name="T43" fmla="*/ 240 h 5401"/>
              <a:gd name="T44" fmla="*/ 968 w 5127"/>
              <a:gd name="T45" fmla="*/ 4179 h 5401"/>
              <a:gd name="T46" fmla="*/ 3904 w 5127"/>
              <a:gd name="T47" fmla="*/ 4879 h 5401"/>
              <a:gd name="T48" fmla="*/ 3904 w 5127"/>
              <a:gd name="T49" fmla="*/ 4639 h 5401"/>
              <a:gd name="T50" fmla="*/ 1208 w 5127"/>
              <a:gd name="T51" fmla="*/ 4179 h 5401"/>
              <a:gd name="T52" fmla="*/ 1086 w 5127"/>
              <a:gd name="T53" fmla="*/ 240 h 5401"/>
              <a:gd name="T54" fmla="*/ 4448 w 5127"/>
              <a:gd name="T55" fmla="*/ 700 h 5401"/>
              <a:gd name="T56" fmla="*/ 4568 w 5127"/>
              <a:gd name="T57" fmla="*/ 2000 h 5401"/>
              <a:gd name="T58" fmla="*/ 4568 w 5127"/>
              <a:gd name="T59" fmla="*/ 2240 h 5401"/>
              <a:gd name="T60" fmla="*/ 4887 w 5127"/>
              <a:gd name="T61" fmla="*/ 2340 h 5401"/>
              <a:gd name="T62" fmla="*/ 5007 w 5127"/>
              <a:gd name="T63" fmla="*/ 3838 h 5401"/>
              <a:gd name="T64" fmla="*/ 5127 w 5127"/>
              <a:gd name="T65" fmla="*/ 2340 h 5401"/>
              <a:gd name="T66" fmla="*/ 4568 w 5127"/>
              <a:gd name="T67" fmla="*/ 5139 h 5401"/>
              <a:gd name="T68" fmla="*/ 4448 w 5127"/>
              <a:gd name="T69" fmla="*/ 5281 h 5401"/>
              <a:gd name="T70" fmla="*/ 4688 w 5127"/>
              <a:gd name="T71" fmla="*/ 5281 h 5401"/>
              <a:gd name="T72" fmla="*/ 4568 w 5127"/>
              <a:gd name="T73" fmla="*/ 5139 h 5401"/>
              <a:gd name="T74" fmla="*/ 4448 w 5127"/>
              <a:gd name="T75" fmla="*/ 2559 h 5401"/>
              <a:gd name="T76" fmla="*/ 4568 w 5127"/>
              <a:gd name="T77" fmla="*/ 4974 h 5401"/>
              <a:gd name="T78" fmla="*/ 4688 w 5127"/>
              <a:gd name="T79" fmla="*/ 2559 h 54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5127" h="5401">
                <a:moveTo>
                  <a:pt x="3473" y="1608"/>
                </a:moveTo>
                <a:cubicBezTo>
                  <a:pt x="3473" y="1674"/>
                  <a:pt x="3419" y="1728"/>
                  <a:pt x="3353" y="1728"/>
                </a:cubicBezTo>
                <a:lnTo>
                  <a:pt x="2303" y="1728"/>
                </a:lnTo>
                <a:cubicBezTo>
                  <a:pt x="2236" y="1728"/>
                  <a:pt x="2183" y="1674"/>
                  <a:pt x="2183" y="1608"/>
                </a:cubicBezTo>
                <a:cubicBezTo>
                  <a:pt x="2183" y="1542"/>
                  <a:pt x="2236" y="1488"/>
                  <a:pt x="2303" y="1488"/>
                </a:cubicBezTo>
                <a:lnTo>
                  <a:pt x="3353" y="1488"/>
                </a:lnTo>
                <a:cubicBezTo>
                  <a:pt x="3419" y="1488"/>
                  <a:pt x="3473" y="1542"/>
                  <a:pt x="3473" y="1608"/>
                </a:cubicBezTo>
                <a:close/>
                <a:moveTo>
                  <a:pt x="3103" y="2231"/>
                </a:moveTo>
                <a:cubicBezTo>
                  <a:pt x="3170" y="2231"/>
                  <a:pt x="3223" y="2178"/>
                  <a:pt x="3223" y="2111"/>
                </a:cubicBezTo>
                <a:cubicBezTo>
                  <a:pt x="3223" y="2045"/>
                  <a:pt x="3170" y="1991"/>
                  <a:pt x="3103" y="1991"/>
                </a:cubicBezTo>
                <a:lnTo>
                  <a:pt x="2552" y="1991"/>
                </a:lnTo>
                <a:cubicBezTo>
                  <a:pt x="2486" y="1991"/>
                  <a:pt x="2432" y="2045"/>
                  <a:pt x="2432" y="2111"/>
                </a:cubicBezTo>
                <a:cubicBezTo>
                  <a:pt x="2432" y="2178"/>
                  <a:pt x="2486" y="2231"/>
                  <a:pt x="2552" y="2231"/>
                </a:cubicBezTo>
                <a:lnTo>
                  <a:pt x="3103" y="2231"/>
                </a:lnTo>
                <a:close/>
                <a:moveTo>
                  <a:pt x="3473" y="2768"/>
                </a:moveTo>
                <a:cubicBezTo>
                  <a:pt x="3473" y="2701"/>
                  <a:pt x="3419" y="2648"/>
                  <a:pt x="3353" y="2648"/>
                </a:cubicBezTo>
                <a:lnTo>
                  <a:pt x="2303" y="2648"/>
                </a:lnTo>
                <a:cubicBezTo>
                  <a:pt x="2236" y="2648"/>
                  <a:pt x="2183" y="2701"/>
                  <a:pt x="2183" y="2768"/>
                </a:cubicBezTo>
                <a:cubicBezTo>
                  <a:pt x="2183" y="2834"/>
                  <a:pt x="2236" y="2888"/>
                  <a:pt x="2303" y="2888"/>
                </a:cubicBezTo>
                <a:lnTo>
                  <a:pt x="3353" y="2888"/>
                </a:lnTo>
                <a:cubicBezTo>
                  <a:pt x="3419" y="2888"/>
                  <a:pt x="3473" y="2834"/>
                  <a:pt x="3473" y="2768"/>
                </a:cubicBezTo>
                <a:close/>
                <a:moveTo>
                  <a:pt x="2552" y="3151"/>
                </a:moveTo>
                <a:cubicBezTo>
                  <a:pt x="2486" y="3151"/>
                  <a:pt x="2432" y="3205"/>
                  <a:pt x="2432" y="3271"/>
                </a:cubicBezTo>
                <a:cubicBezTo>
                  <a:pt x="2432" y="3338"/>
                  <a:pt x="2486" y="3391"/>
                  <a:pt x="2552" y="3391"/>
                </a:cubicBezTo>
                <a:lnTo>
                  <a:pt x="3103" y="3391"/>
                </a:lnTo>
                <a:cubicBezTo>
                  <a:pt x="3170" y="3391"/>
                  <a:pt x="3223" y="3338"/>
                  <a:pt x="3223" y="3271"/>
                </a:cubicBezTo>
                <a:cubicBezTo>
                  <a:pt x="3223" y="3205"/>
                  <a:pt x="3170" y="3151"/>
                  <a:pt x="3103" y="3151"/>
                </a:cubicBezTo>
                <a:lnTo>
                  <a:pt x="2552" y="3151"/>
                </a:lnTo>
                <a:close/>
                <a:moveTo>
                  <a:pt x="4448" y="700"/>
                </a:moveTo>
                <a:lnTo>
                  <a:pt x="4448" y="1442"/>
                </a:lnTo>
                <a:cubicBezTo>
                  <a:pt x="4448" y="1509"/>
                  <a:pt x="4501" y="1562"/>
                  <a:pt x="4568" y="1562"/>
                </a:cubicBezTo>
                <a:cubicBezTo>
                  <a:pt x="4634" y="1562"/>
                  <a:pt x="4688" y="1509"/>
                  <a:pt x="4688" y="1442"/>
                </a:cubicBezTo>
                <a:lnTo>
                  <a:pt x="4688" y="700"/>
                </a:lnTo>
                <a:cubicBezTo>
                  <a:pt x="4688" y="314"/>
                  <a:pt x="4374" y="0"/>
                  <a:pt x="3988" y="0"/>
                </a:cubicBezTo>
                <a:lnTo>
                  <a:pt x="604" y="0"/>
                </a:lnTo>
                <a:cubicBezTo>
                  <a:pt x="271" y="0"/>
                  <a:pt x="0" y="271"/>
                  <a:pt x="0" y="604"/>
                </a:cubicBezTo>
                <a:lnTo>
                  <a:pt x="0" y="1672"/>
                </a:lnTo>
                <a:cubicBezTo>
                  <a:pt x="0" y="1738"/>
                  <a:pt x="53" y="1792"/>
                  <a:pt x="120" y="1792"/>
                </a:cubicBezTo>
                <a:lnTo>
                  <a:pt x="566" y="1792"/>
                </a:lnTo>
                <a:cubicBezTo>
                  <a:pt x="632" y="1792"/>
                  <a:pt x="686" y="1738"/>
                  <a:pt x="686" y="1672"/>
                </a:cubicBezTo>
                <a:cubicBezTo>
                  <a:pt x="686" y="1606"/>
                  <a:pt x="632" y="1552"/>
                  <a:pt x="566" y="1552"/>
                </a:cubicBezTo>
                <a:lnTo>
                  <a:pt x="240" y="1552"/>
                </a:lnTo>
                <a:lnTo>
                  <a:pt x="240" y="604"/>
                </a:lnTo>
                <a:cubicBezTo>
                  <a:pt x="240" y="403"/>
                  <a:pt x="403" y="240"/>
                  <a:pt x="604" y="240"/>
                </a:cubicBezTo>
                <a:cubicBezTo>
                  <a:pt x="805" y="240"/>
                  <a:pt x="968" y="403"/>
                  <a:pt x="968" y="604"/>
                </a:cubicBezTo>
                <a:lnTo>
                  <a:pt x="968" y="4179"/>
                </a:lnTo>
                <a:cubicBezTo>
                  <a:pt x="968" y="4565"/>
                  <a:pt x="1282" y="4879"/>
                  <a:pt x="1668" y="4879"/>
                </a:cubicBezTo>
                <a:lnTo>
                  <a:pt x="3904" y="4879"/>
                </a:lnTo>
                <a:cubicBezTo>
                  <a:pt x="3970" y="4879"/>
                  <a:pt x="4024" y="4825"/>
                  <a:pt x="4024" y="4759"/>
                </a:cubicBezTo>
                <a:cubicBezTo>
                  <a:pt x="4024" y="4693"/>
                  <a:pt x="3970" y="4639"/>
                  <a:pt x="3904" y="4639"/>
                </a:cubicBezTo>
                <a:lnTo>
                  <a:pt x="1668" y="4639"/>
                </a:lnTo>
                <a:cubicBezTo>
                  <a:pt x="1415" y="4639"/>
                  <a:pt x="1208" y="4433"/>
                  <a:pt x="1208" y="4179"/>
                </a:cubicBezTo>
                <a:lnTo>
                  <a:pt x="1208" y="604"/>
                </a:lnTo>
                <a:cubicBezTo>
                  <a:pt x="1208" y="468"/>
                  <a:pt x="1163" y="341"/>
                  <a:pt x="1086" y="240"/>
                </a:cubicBezTo>
                <a:lnTo>
                  <a:pt x="3988" y="240"/>
                </a:lnTo>
                <a:cubicBezTo>
                  <a:pt x="4241" y="240"/>
                  <a:pt x="4448" y="446"/>
                  <a:pt x="4448" y="700"/>
                </a:cubicBezTo>
                <a:close/>
                <a:moveTo>
                  <a:pt x="4787" y="2000"/>
                </a:moveTo>
                <a:lnTo>
                  <a:pt x="4568" y="2000"/>
                </a:lnTo>
                <a:cubicBezTo>
                  <a:pt x="4501" y="2000"/>
                  <a:pt x="4448" y="2054"/>
                  <a:pt x="4448" y="2120"/>
                </a:cubicBezTo>
                <a:cubicBezTo>
                  <a:pt x="4448" y="2187"/>
                  <a:pt x="4501" y="2240"/>
                  <a:pt x="4568" y="2240"/>
                </a:cubicBezTo>
                <a:lnTo>
                  <a:pt x="4787" y="2240"/>
                </a:lnTo>
                <a:cubicBezTo>
                  <a:pt x="4842" y="2240"/>
                  <a:pt x="4887" y="2285"/>
                  <a:pt x="4887" y="2340"/>
                </a:cubicBezTo>
                <a:lnTo>
                  <a:pt x="4887" y="3718"/>
                </a:lnTo>
                <a:cubicBezTo>
                  <a:pt x="4887" y="3785"/>
                  <a:pt x="4941" y="3838"/>
                  <a:pt x="5007" y="3838"/>
                </a:cubicBezTo>
                <a:cubicBezTo>
                  <a:pt x="5073" y="3838"/>
                  <a:pt x="5127" y="3785"/>
                  <a:pt x="5127" y="3718"/>
                </a:cubicBezTo>
                <a:lnTo>
                  <a:pt x="5127" y="2340"/>
                </a:lnTo>
                <a:cubicBezTo>
                  <a:pt x="5127" y="2153"/>
                  <a:pt x="4975" y="2000"/>
                  <a:pt x="4787" y="2000"/>
                </a:cubicBezTo>
                <a:close/>
                <a:moveTo>
                  <a:pt x="4568" y="5139"/>
                </a:moveTo>
                <a:cubicBezTo>
                  <a:pt x="4501" y="5139"/>
                  <a:pt x="4448" y="5193"/>
                  <a:pt x="4448" y="5259"/>
                </a:cubicBezTo>
                <a:lnTo>
                  <a:pt x="4448" y="5281"/>
                </a:lnTo>
                <a:cubicBezTo>
                  <a:pt x="4448" y="5347"/>
                  <a:pt x="4501" y="5401"/>
                  <a:pt x="4568" y="5401"/>
                </a:cubicBezTo>
                <a:cubicBezTo>
                  <a:pt x="4634" y="5401"/>
                  <a:pt x="4688" y="5347"/>
                  <a:pt x="4688" y="5281"/>
                </a:cubicBezTo>
                <a:lnTo>
                  <a:pt x="4688" y="5259"/>
                </a:lnTo>
                <a:cubicBezTo>
                  <a:pt x="4688" y="5193"/>
                  <a:pt x="4634" y="5139"/>
                  <a:pt x="4568" y="5139"/>
                </a:cubicBezTo>
                <a:close/>
                <a:moveTo>
                  <a:pt x="4568" y="2439"/>
                </a:moveTo>
                <a:cubicBezTo>
                  <a:pt x="4501" y="2439"/>
                  <a:pt x="4448" y="2492"/>
                  <a:pt x="4448" y="2559"/>
                </a:cubicBezTo>
                <a:lnTo>
                  <a:pt x="4448" y="4854"/>
                </a:lnTo>
                <a:cubicBezTo>
                  <a:pt x="4448" y="4920"/>
                  <a:pt x="4501" y="4974"/>
                  <a:pt x="4568" y="4974"/>
                </a:cubicBezTo>
                <a:cubicBezTo>
                  <a:pt x="4634" y="4974"/>
                  <a:pt x="4688" y="4920"/>
                  <a:pt x="4688" y="4854"/>
                </a:cubicBezTo>
                <a:lnTo>
                  <a:pt x="4688" y="2559"/>
                </a:lnTo>
                <a:cubicBezTo>
                  <a:pt x="4688" y="2492"/>
                  <a:pt x="4634" y="2439"/>
                  <a:pt x="4568" y="2439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txBody>
          <a:bodyPr/>
          <a:p>
            <a:endParaRPr lang="zh-CN" altLang="en-US" sz="1350">
              <a:cs typeface="+mn-ea"/>
              <a:sym typeface="+mn-lt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630555" y="1323975"/>
            <a:ext cx="736600" cy="2301240"/>
          </a:xfrm>
          <a:prstGeom prst="rect">
            <a:avLst/>
          </a:prstGeom>
          <a:noFill/>
        </p:spPr>
        <p:txBody>
          <a:bodyPr vert="eaVert" wrap="none" rtlCol="0">
            <a:spAutoFit/>
          </a:bodyPr>
          <a:p>
            <a:pPr algn="l"/>
            <a:r>
              <a:rPr lang="zh-CN" altLang="en-US" sz="3600"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sym typeface="+mn-ea"/>
              </a:rPr>
              <a:t>总 结 归 纳</a:t>
            </a:r>
            <a:endParaRPr lang="zh-CN" altLang="en-US" sz="3600"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sym typeface="+mn-ea"/>
            </a:endParaRPr>
          </a:p>
        </p:txBody>
      </p:sp>
      <p:sp>
        <p:nvSpPr>
          <p:cNvPr id="20" name="立方体 19"/>
          <p:cNvSpPr/>
          <p:nvPr>
            <p:custDataLst>
              <p:tags r:id="rId2"/>
            </p:custDataLst>
          </p:nvPr>
        </p:nvSpPr>
        <p:spPr>
          <a:xfrm>
            <a:off x="1988153" y="1983161"/>
            <a:ext cx="1471067" cy="3526696"/>
          </a:xfrm>
          <a:prstGeom prst="cube">
            <a:avLst>
              <a:gd name="adj" fmla="val 88345"/>
            </a:avLst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  <a:effectLst/>
        </p:spPr>
        <p:style>
          <a:lnRef idx="2">
            <a:srgbClr val="1F74AD">
              <a:shade val="50000"/>
            </a:srgbClr>
          </a:lnRef>
          <a:fillRef idx="1">
            <a:srgbClr val="1F74AD"/>
          </a:fillRef>
          <a:effectRef idx="0">
            <a:srgbClr val="1F74AD"/>
          </a:effectRef>
          <a:fontRef idx="minor">
            <a:sysClr val="window" lastClr="FFFFFF"/>
          </a:fontRef>
        </p:style>
        <p:txBody>
          <a:bodyPr anchor="ctr"/>
          <a:p>
            <a:pPr algn="ctr">
              <a:lnSpc>
                <a:spcPct val="120000"/>
              </a:lnSpc>
            </a:pPr>
            <a:endParaRPr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grpSp>
        <p:nvGrpSpPr>
          <p:cNvPr id="21" name="组合 20"/>
          <p:cNvGrpSpPr/>
          <p:nvPr/>
        </p:nvGrpSpPr>
        <p:grpSpPr>
          <a:xfrm>
            <a:off x="4238625" y="1379220"/>
            <a:ext cx="5832213" cy="416627"/>
            <a:chOff x="8624" y="2158"/>
            <a:chExt cx="9185" cy="656"/>
          </a:xfrm>
        </p:grpSpPr>
        <p:sp>
          <p:nvSpPr>
            <p:cNvPr id="5" name="椭圆 4"/>
            <p:cNvSpPr/>
            <p:nvPr>
              <p:custDataLst>
                <p:tags r:id="rId3"/>
              </p:custDataLst>
            </p:nvPr>
          </p:nvSpPr>
          <p:spPr bwMode="auto">
            <a:xfrm flipH="1">
              <a:off x="8624" y="2355"/>
              <a:ext cx="262" cy="262"/>
            </a:xfrm>
            <a:prstGeom prst="ellipse">
              <a:avLst/>
            </a:prstGeom>
            <a:solidFill>
              <a:schemeClr val="accent2">
                <a:lumMod val="20000"/>
                <a:lumOff val="80000"/>
              </a:schemeClr>
            </a:solidFill>
            <a:ln w="9525">
              <a:noFill/>
              <a:round/>
            </a:ln>
          </p:spPr>
          <p:txBody>
            <a:bodyPr anchor="ctr"/>
            <a:p>
              <a:pPr algn="ctr">
                <a:lnSpc>
                  <a:spcPct val="120000"/>
                </a:lnSpc>
              </a:pPr>
              <a:endParaRPr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endParaRPr>
            </a:p>
          </p:txBody>
        </p:sp>
        <p:sp>
          <p:nvSpPr>
            <p:cNvPr id="18" name="文本框 17"/>
            <p:cNvSpPr txBox="1"/>
            <p:nvPr>
              <p:custDataLst>
                <p:tags r:id="rId4"/>
              </p:custDataLst>
            </p:nvPr>
          </p:nvSpPr>
          <p:spPr bwMode="auto">
            <a:xfrm>
              <a:off x="9063" y="2158"/>
              <a:ext cx="8746" cy="656"/>
            </a:xfrm>
            <a:prstGeom prst="rect">
              <a:avLst/>
            </a:prstGeom>
            <a:noFill/>
          </p:spPr>
          <p:txBody>
            <a:bodyPr wrap="square" lIns="90000" tIns="46800" rIns="90000" bIns="0" anchor="b" anchorCtr="0"/>
            <a:p>
              <a:pPr>
                <a:lnSpc>
                  <a:spcPct val="130000"/>
                </a:lnSpc>
              </a:pPr>
              <a:r>
                <a:rPr lang="zh-CN" altLang="en-US" sz="2400" b="1" spc="300">
                  <a:ln>
                    <a:solidFill>
                      <a:schemeClr val="accent2">
                        <a:lumMod val="20000"/>
                        <a:lumOff val="80000"/>
                      </a:schemeClr>
                    </a:solidFill>
                  </a:ln>
                  <a:solidFill>
                    <a:schemeClr val="accent3">
                      <a:lumMod val="95000"/>
                      <a:lumOff val="5000"/>
                    </a:schemeClr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+mn-ea"/>
                  <a:sym typeface="Arial" panose="020B0604020202020204" pitchFamily="34" charset="0"/>
                </a:rPr>
                <a:t>已知函数零点存在求参数</a:t>
              </a:r>
              <a:endParaRPr lang="zh-CN" altLang="en-US" sz="2400" b="1" spc="300">
                <a:ln>
                  <a:solidFill>
                    <a:schemeClr val="accent2">
                      <a:lumMod val="20000"/>
                      <a:lumOff val="80000"/>
                    </a:schemeClr>
                  </a:solidFill>
                </a:ln>
                <a:solidFill>
                  <a:schemeClr val="accent3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+mn-ea"/>
                <a:sym typeface="Arial" panose="020B0604020202020204" pitchFamily="34" charset="0"/>
              </a:endParaRPr>
            </a:p>
          </p:txBody>
        </p:sp>
      </p:grpSp>
      <p:sp>
        <p:nvSpPr>
          <p:cNvPr id="19" name="文本框 18"/>
          <p:cNvSpPr txBox="1"/>
          <p:nvPr>
            <p:custDataLst>
              <p:tags r:id="rId5"/>
            </p:custDataLst>
          </p:nvPr>
        </p:nvSpPr>
        <p:spPr bwMode="auto">
          <a:xfrm>
            <a:off x="4801870" y="1874520"/>
            <a:ext cx="6636385" cy="1835150"/>
          </a:xfrm>
          <a:prstGeom prst="rect">
            <a:avLst/>
          </a:prstGeom>
          <a:noFill/>
        </p:spPr>
        <p:txBody>
          <a:bodyPr wrap="square" lIns="90000" tIns="0" rIns="90000" bIns="46800">
            <a:noAutofit/>
          </a:bodyPr>
          <a:p>
            <a:pPr>
              <a:lnSpc>
                <a:spcPct val="120000"/>
              </a:lnSpc>
            </a:pPr>
            <a:r>
              <a:rPr lang="en-US" altLang="zh-CN" sz="2400" b="1" spc="150">
                <a:latin typeface="宋体" panose="02010600030101010101" pitchFamily="2" charset="-122"/>
                <a:ea typeface="宋体" panose="02010600030101010101" pitchFamily="2" charset="-122"/>
                <a:sym typeface="Arial" panose="020B0604020202020204" pitchFamily="34" charset="0"/>
              </a:rPr>
              <a:t>1.</a:t>
            </a:r>
            <a:r>
              <a:rPr lang="zh-CN" altLang="en-US" sz="2400" b="1" spc="150">
                <a:latin typeface="宋体" panose="02010600030101010101" pitchFamily="2" charset="-122"/>
                <a:ea typeface="宋体" panose="02010600030101010101" pitchFamily="2" charset="-122"/>
                <a:sym typeface="Arial" panose="020B0604020202020204" pitchFamily="34" charset="0"/>
              </a:rPr>
              <a:t>判断函数单调性；</a:t>
            </a:r>
            <a:endParaRPr lang="zh-CN" altLang="en-US" sz="2400" b="1" spc="150">
              <a:latin typeface="宋体" panose="02010600030101010101" pitchFamily="2" charset="-122"/>
              <a:ea typeface="宋体" panose="02010600030101010101" pitchFamily="2" charset="-122"/>
              <a:sym typeface="Arial" panose="020B0604020202020204" pitchFamily="34" charset="0"/>
            </a:endParaRPr>
          </a:p>
          <a:p>
            <a:pPr>
              <a:lnSpc>
                <a:spcPct val="120000"/>
              </a:lnSpc>
            </a:pPr>
            <a:r>
              <a:rPr lang="en-US" altLang="zh-CN" sz="2400" b="1" spc="150">
                <a:latin typeface="宋体" panose="02010600030101010101" pitchFamily="2" charset="-122"/>
                <a:ea typeface="宋体" panose="02010600030101010101" pitchFamily="2" charset="-122"/>
                <a:sym typeface="Arial" panose="020B0604020202020204" pitchFamily="34" charset="0"/>
              </a:rPr>
              <a:t>2.</a:t>
            </a:r>
            <a:r>
              <a:rPr lang="zh-CN" altLang="en-US" sz="2400" b="1" spc="150">
                <a:latin typeface="宋体" panose="02010600030101010101" pitchFamily="2" charset="-122"/>
                <a:ea typeface="宋体" panose="02010600030101010101" pitchFamily="2" charset="-122"/>
                <a:sym typeface="Arial" panose="020B0604020202020204" pitchFamily="34" charset="0"/>
              </a:rPr>
              <a:t>利用零点存在性定理，得到关于参数所满</a:t>
            </a:r>
            <a:endParaRPr lang="zh-CN" altLang="en-US" sz="2400" b="1" spc="150">
              <a:latin typeface="宋体" panose="02010600030101010101" pitchFamily="2" charset="-122"/>
              <a:ea typeface="宋体" panose="02010600030101010101" pitchFamily="2" charset="-122"/>
              <a:sym typeface="Arial" panose="020B0604020202020204" pitchFamily="34" charset="0"/>
            </a:endParaRPr>
          </a:p>
          <a:p>
            <a:pPr>
              <a:lnSpc>
                <a:spcPct val="120000"/>
              </a:lnSpc>
            </a:pPr>
            <a:r>
              <a:rPr lang="zh-CN" altLang="en-US" sz="2400" b="1" spc="150">
                <a:latin typeface="宋体" panose="02010600030101010101" pitchFamily="2" charset="-122"/>
                <a:ea typeface="宋体" panose="02010600030101010101" pitchFamily="2" charset="-122"/>
                <a:sym typeface="Arial" panose="020B0604020202020204" pitchFamily="34" charset="0"/>
              </a:rPr>
              <a:t>  足的不等式；</a:t>
            </a:r>
            <a:endParaRPr lang="zh-CN" altLang="en-US" sz="2400" b="1" spc="150">
              <a:latin typeface="宋体" panose="02010600030101010101" pitchFamily="2" charset="-122"/>
              <a:ea typeface="宋体" panose="02010600030101010101" pitchFamily="2" charset="-122"/>
              <a:sym typeface="Arial" panose="020B0604020202020204" pitchFamily="34" charset="0"/>
            </a:endParaRPr>
          </a:p>
          <a:p>
            <a:pPr>
              <a:lnSpc>
                <a:spcPct val="120000"/>
              </a:lnSpc>
            </a:pPr>
            <a:r>
              <a:rPr lang="en-US" altLang="zh-CN" sz="2400" b="1" spc="150">
                <a:latin typeface="宋体" panose="02010600030101010101" pitchFamily="2" charset="-122"/>
                <a:ea typeface="宋体" panose="02010600030101010101" pitchFamily="2" charset="-122"/>
                <a:sym typeface="Arial" panose="020B0604020202020204" pitchFamily="34" charset="0"/>
              </a:rPr>
              <a:t>3.</a:t>
            </a:r>
            <a:r>
              <a:rPr lang="zh-CN" altLang="en-US" sz="2400" b="1" spc="150">
                <a:latin typeface="宋体" panose="02010600030101010101" pitchFamily="2" charset="-122"/>
                <a:ea typeface="宋体" panose="02010600030101010101" pitchFamily="2" charset="-122"/>
                <a:sym typeface="Arial" panose="020B0604020202020204" pitchFamily="34" charset="0"/>
              </a:rPr>
              <a:t>解不等式，求参数取值范围</a:t>
            </a:r>
            <a:endParaRPr lang="zh-CN" altLang="en-US" sz="2400" b="1" spc="150">
              <a:latin typeface="宋体" panose="02010600030101010101" pitchFamily="2" charset="-122"/>
              <a:ea typeface="宋体" panose="02010600030101010101" pitchFamily="2" charset="-122"/>
              <a:sym typeface="Arial" panose="020B0604020202020204" pitchFamily="34" charset="0"/>
            </a:endParaRPr>
          </a:p>
        </p:txBody>
      </p:sp>
      <p:grpSp>
        <p:nvGrpSpPr>
          <p:cNvPr id="22" name="组合 21"/>
          <p:cNvGrpSpPr/>
          <p:nvPr/>
        </p:nvGrpSpPr>
        <p:grpSpPr>
          <a:xfrm>
            <a:off x="4238625" y="3787775"/>
            <a:ext cx="5808345" cy="416560"/>
            <a:chOff x="8886" y="3608"/>
            <a:chExt cx="9147" cy="656"/>
          </a:xfrm>
        </p:grpSpPr>
        <p:sp>
          <p:nvSpPr>
            <p:cNvPr id="10" name="椭圆 9"/>
            <p:cNvSpPr/>
            <p:nvPr>
              <p:custDataLst>
                <p:tags r:id="rId6"/>
              </p:custDataLst>
            </p:nvPr>
          </p:nvSpPr>
          <p:spPr bwMode="auto">
            <a:xfrm flipH="1">
              <a:off x="8886" y="3926"/>
              <a:ext cx="262" cy="262"/>
            </a:xfrm>
            <a:prstGeom prst="ellipse">
              <a:avLst/>
            </a:prstGeom>
            <a:solidFill>
              <a:schemeClr val="accent1">
                <a:lumMod val="40000"/>
                <a:lumOff val="60000"/>
              </a:schemeClr>
            </a:solidFill>
            <a:ln w="9525">
              <a:solidFill>
                <a:schemeClr val="accent1">
                  <a:lumMod val="60000"/>
                  <a:lumOff val="40000"/>
                </a:schemeClr>
              </a:solidFill>
              <a:round/>
            </a:ln>
          </p:spPr>
          <p:txBody>
            <a:bodyPr anchor="ctr"/>
            <a:p>
              <a:pPr algn="ctr">
                <a:lnSpc>
                  <a:spcPct val="120000"/>
                </a:lnSpc>
              </a:pPr>
              <a:endParaRPr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endParaRPr>
            </a:p>
          </p:txBody>
        </p:sp>
        <p:sp>
          <p:nvSpPr>
            <p:cNvPr id="16" name="文本框 15"/>
            <p:cNvSpPr txBox="1"/>
            <p:nvPr>
              <p:custDataLst>
                <p:tags r:id="rId7"/>
              </p:custDataLst>
            </p:nvPr>
          </p:nvSpPr>
          <p:spPr bwMode="auto">
            <a:xfrm>
              <a:off x="9287" y="3608"/>
              <a:ext cx="8746" cy="656"/>
            </a:xfrm>
            <a:prstGeom prst="rect">
              <a:avLst/>
            </a:prstGeom>
            <a:noFill/>
          </p:spPr>
          <p:txBody>
            <a:bodyPr wrap="square" lIns="90000" tIns="46800" rIns="90000" bIns="0" anchor="b" anchorCtr="0"/>
            <a:p>
              <a:pPr>
                <a:lnSpc>
                  <a:spcPct val="130000"/>
                </a:lnSpc>
              </a:pPr>
              <a:r>
                <a:rPr lang="zh-CN" altLang="en-US" sz="2400" b="1" spc="300">
                  <a:ln>
                    <a:solidFill>
                      <a:schemeClr val="accent2">
                        <a:lumMod val="20000"/>
                        <a:lumOff val="80000"/>
                      </a:schemeClr>
                    </a:solidFill>
                  </a:ln>
                  <a:solidFill>
                    <a:schemeClr val="accent3">
                      <a:lumMod val="95000"/>
                      <a:lumOff val="5000"/>
                    </a:schemeClr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+mn-ea"/>
                  <a:sym typeface="Arial" panose="020B0604020202020204" pitchFamily="34" charset="0"/>
                </a:rPr>
                <a:t>已知函数零点个数求参数</a:t>
              </a:r>
              <a:endParaRPr lang="zh-CN" altLang="en-US" sz="2400" b="1" spc="300">
                <a:ln>
                  <a:solidFill>
                    <a:schemeClr val="accent2">
                      <a:lumMod val="20000"/>
                      <a:lumOff val="80000"/>
                    </a:schemeClr>
                  </a:solidFill>
                </a:ln>
                <a:solidFill>
                  <a:schemeClr val="accent3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+mn-ea"/>
                <a:sym typeface="Arial" panose="020B0604020202020204" pitchFamily="34" charset="0"/>
              </a:endParaRPr>
            </a:p>
          </p:txBody>
        </p:sp>
      </p:grpSp>
      <p:sp>
        <p:nvSpPr>
          <p:cNvPr id="17" name="文本框 16"/>
          <p:cNvSpPr txBox="1"/>
          <p:nvPr>
            <p:custDataLst>
              <p:tags r:id="rId8"/>
            </p:custDataLst>
          </p:nvPr>
        </p:nvSpPr>
        <p:spPr bwMode="auto">
          <a:xfrm>
            <a:off x="4872355" y="4204335"/>
            <a:ext cx="6506210" cy="416560"/>
          </a:xfrm>
          <a:prstGeom prst="rect">
            <a:avLst/>
          </a:prstGeom>
          <a:noFill/>
        </p:spPr>
        <p:txBody>
          <a:bodyPr wrap="square" lIns="90000" tIns="0" rIns="90000" bIns="46800">
            <a:noAutofit/>
          </a:bodyPr>
          <a:p>
            <a:pPr>
              <a:lnSpc>
                <a:spcPct val="120000"/>
              </a:lnSpc>
            </a:pPr>
            <a:r>
              <a:rPr lang="zh-CN" altLang="en-US" sz="2400" b="1" spc="150">
                <a:latin typeface="宋体" panose="02010600030101010101" pitchFamily="2" charset="-122"/>
                <a:ea typeface="宋体" panose="02010600030101010101" pitchFamily="2" charset="-122"/>
                <a:sym typeface="Arial" panose="020B0604020202020204" pitchFamily="34" charset="0"/>
              </a:rPr>
              <a:t>常利用数形结合的方法</a:t>
            </a:r>
            <a:endParaRPr lang="zh-CN" altLang="en-US" sz="2400" b="1" spc="150">
              <a:latin typeface="宋体" panose="02010600030101010101" pitchFamily="2" charset="-122"/>
              <a:ea typeface="宋体" panose="02010600030101010101" pitchFamily="2" charset="-122"/>
              <a:sym typeface="Arial" panose="020B0604020202020204" pitchFamily="34" charset="0"/>
            </a:endParaRPr>
          </a:p>
        </p:txBody>
      </p:sp>
      <p:grpSp>
        <p:nvGrpSpPr>
          <p:cNvPr id="23" name="组合 22"/>
          <p:cNvGrpSpPr/>
          <p:nvPr/>
        </p:nvGrpSpPr>
        <p:grpSpPr>
          <a:xfrm>
            <a:off x="4238625" y="4712335"/>
            <a:ext cx="5808345" cy="416560"/>
            <a:chOff x="8886" y="5058"/>
            <a:chExt cx="9147" cy="656"/>
          </a:xfrm>
        </p:grpSpPr>
        <p:sp>
          <p:nvSpPr>
            <p:cNvPr id="13" name="椭圆 12"/>
            <p:cNvSpPr/>
            <p:nvPr>
              <p:custDataLst>
                <p:tags r:id="rId9"/>
              </p:custDataLst>
            </p:nvPr>
          </p:nvSpPr>
          <p:spPr bwMode="auto">
            <a:xfrm flipH="1">
              <a:off x="8886" y="5255"/>
              <a:ext cx="262" cy="262"/>
            </a:xfrm>
            <a:prstGeom prst="ellipse">
              <a:avLst/>
            </a:prstGeom>
            <a:solidFill>
              <a:schemeClr val="accent2">
                <a:lumMod val="75000"/>
              </a:schemeClr>
            </a:solidFill>
            <a:ln w="9525">
              <a:solidFill>
                <a:schemeClr val="accent2">
                  <a:lumMod val="75000"/>
                </a:schemeClr>
              </a:solidFill>
              <a:round/>
            </a:ln>
          </p:spPr>
          <p:txBody>
            <a:bodyPr anchor="ctr"/>
            <a:p>
              <a:pPr algn="ctr">
                <a:lnSpc>
                  <a:spcPct val="120000"/>
                </a:lnSpc>
              </a:pPr>
              <a:endParaRPr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endParaRPr>
            </a:p>
          </p:txBody>
        </p:sp>
        <p:sp>
          <p:nvSpPr>
            <p:cNvPr id="14" name="文本框 13"/>
            <p:cNvSpPr txBox="1"/>
            <p:nvPr>
              <p:custDataLst>
                <p:tags r:id="rId10"/>
              </p:custDataLst>
            </p:nvPr>
          </p:nvSpPr>
          <p:spPr bwMode="auto">
            <a:xfrm>
              <a:off x="9287" y="5058"/>
              <a:ext cx="8746" cy="656"/>
            </a:xfrm>
            <a:prstGeom prst="rect">
              <a:avLst/>
            </a:prstGeom>
            <a:noFill/>
          </p:spPr>
          <p:txBody>
            <a:bodyPr wrap="square" lIns="90000" tIns="46800" rIns="90000" bIns="0" anchor="b" anchorCtr="0"/>
            <a:p>
              <a:pPr>
                <a:lnSpc>
                  <a:spcPct val="130000"/>
                </a:lnSpc>
              </a:pPr>
              <a:r>
                <a:rPr lang="zh-CN" altLang="en-US" sz="2400" b="1" spc="300">
                  <a:ln>
                    <a:solidFill>
                      <a:schemeClr val="accent2">
                        <a:lumMod val="20000"/>
                        <a:lumOff val="80000"/>
                      </a:schemeClr>
                    </a:solidFill>
                  </a:ln>
                  <a:solidFill>
                    <a:schemeClr val="accent3">
                      <a:lumMod val="95000"/>
                      <a:lumOff val="5000"/>
                    </a:schemeClr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+mn-ea"/>
                  <a:sym typeface="Arial" panose="020B0604020202020204" pitchFamily="34" charset="0"/>
                </a:rPr>
                <a:t>借助函数零点比较大小</a:t>
              </a:r>
              <a:endParaRPr lang="zh-CN" altLang="en-US" sz="2400" b="1" spc="300">
                <a:ln>
                  <a:solidFill>
                    <a:schemeClr val="accent2">
                      <a:lumMod val="20000"/>
                      <a:lumOff val="80000"/>
                    </a:schemeClr>
                  </a:solidFill>
                </a:ln>
                <a:solidFill>
                  <a:schemeClr val="accent3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+mn-ea"/>
                <a:sym typeface="Arial" panose="020B0604020202020204" pitchFamily="34" charset="0"/>
              </a:endParaRPr>
            </a:p>
          </p:txBody>
        </p:sp>
      </p:grpSp>
      <p:sp>
        <p:nvSpPr>
          <p:cNvPr id="15" name="文本框 14"/>
          <p:cNvSpPr txBox="1"/>
          <p:nvPr>
            <p:custDataLst>
              <p:tags r:id="rId11"/>
            </p:custDataLst>
          </p:nvPr>
        </p:nvSpPr>
        <p:spPr bwMode="auto">
          <a:xfrm>
            <a:off x="4872355" y="5198110"/>
            <a:ext cx="7141845" cy="491490"/>
          </a:xfrm>
          <a:prstGeom prst="rect">
            <a:avLst/>
          </a:prstGeom>
          <a:noFill/>
        </p:spPr>
        <p:txBody>
          <a:bodyPr wrap="square" lIns="90000" tIns="0" rIns="90000" bIns="46800">
            <a:noAutofit/>
          </a:bodyPr>
          <a:p>
            <a:pPr>
              <a:lnSpc>
                <a:spcPct val="120000"/>
              </a:lnSpc>
            </a:pPr>
            <a:r>
              <a:rPr lang="zh-CN" altLang="en-US" sz="2400" b="1" spc="150">
                <a:latin typeface="宋体" panose="02010600030101010101" pitchFamily="2" charset="-122"/>
                <a:ea typeface="宋体" panose="02010600030101010101" pitchFamily="2" charset="-122"/>
                <a:sym typeface="Arial" panose="020B0604020202020204" pitchFamily="34" charset="0"/>
              </a:rPr>
              <a:t>要比较两个函数值的大小，利用零点作为中间值</a:t>
            </a:r>
            <a:endParaRPr lang="zh-CN" altLang="en-US" sz="2400" b="1" spc="150">
              <a:latin typeface="宋体" panose="02010600030101010101" pitchFamily="2" charset="-122"/>
              <a:ea typeface="宋体" panose="02010600030101010101" pitchFamily="2" charset="-122"/>
              <a:sym typeface="Arial" panose="020B0604020202020204" pitchFamily="34" charset="0"/>
            </a:endParaRPr>
          </a:p>
        </p:txBody>
      </p:sp>
      <p:sp>
        <p:nvSpPr>
          <p:cNvPr id="35" name="立方体 34"/>
          <p:cNvSpPr/>
          <p:nvPr>
            <p:custDataLst>
              <p:tags r:id="rId12"/>
            </p:custDataLst>
          </p:nvPr>
        </p:nvSpPr>
        <p:spPr>
          <a:xfrm>
            <a:off x="2356549" y="2334471"/>
            <a:ext cx="1324389" cy="3175386"/>
          </a:xfrm>
          <a:prstGeom prst="cube">
            <a:avLst>
              <a:gd name="adj" fmla="val 85731"/>
            </a:avLst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accent2">
                <a:lumMod val="40000"/>
                <a:lumOff val="60000"/>
              </a:schemeClr>
            </a:solidFill>
          </a:ln>
          <a:effectLst/>
        </p:spPr>
        <p:style>
          <a:lnRef idx="2">
            <a:srgbClr val="1F74AD">
              <a:shade val="50000"/>
            </a:srgbClr>
          </a:lnRef>
          <a:fillRef idx="1">
            <a:srgbClr val="1F74AD"/>
          </a:fillRef>
          <a:effectRef idx="0">
            <a:srgbClr val="1F74AD"/>
          </a:effectRef>
          <a:fontRef idx="minor">
            <a:sysClr val="window" lastClr="FFFFFF"/>
          </a:fontRef>
        </p:style>
        <p:txBody>
          <a:bodyPr anchor="ctr"/>
          <a:p>
            <a:pPr algn="ctr">
              <a:lnSpc>
                <a:spcPct val="120000"/>
              </a:lnSpc>
            </a:pPr>
            <a:endParaRPr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sp>
        <p:nvSpPr>
          <p:cNvPr id="36" name="立方体 35"/>
          <p:cNvSpPr/>
          <p:nvPr>
            <p:custDataLst>
              <p:tags r:id="rId13"/>
            </p:custDataLst>
          </p:nvPr>
        </p:nvSpPr>
        <p:spPr>
          <a:xfrm>
            <a:off x="2779965" y="2878251"/>
            <a:ext cx="1097576" cy="2631606"/>
          </a:xfrm>
          <a:prstGeom prst="cube">
            <a:avLst>
              <a:gd name="adj" fmla="val 85731"/>
            </a:avLst>
          </a:prstGeom>
          <a:solidFill>
            <a:schemeClr val="accent2">
              <a:lumMod val="75000"/>
            </a:schemeClr>
          </a:solidFill>
          <a:ln>
            <a:noFill/>
          </a:ln>
          <a:effectLst/>
        </p:spPr>
        <p:style>
          <a:lnRef idx="2">
            <a:srgbClr val="1F74AD">
              <a:shade val="50000"/>
            </a:srgbClr>
          </a:lnRef>
          <a:fillRef idx="1">
            <a:srgbClr val="1F74AD"/>
          </a:fillRef>
          <a:effectRef idx="0">
            <a:srgbClr val="1F74AD"/>
          </a:effectRef>
          <a:fontRef idx="minor">
            <a:sysClr val="window" lastClr="FFFFFF"/>
          </a:fontRef>
        </p:style>
        <p:txBody>
          <a:bodyPr anchor="ctr"/>
          <a:p>
            <a:pPr algn="ctr">
              <a:lnSpc>
                <a:spcPct val="120000"/>
              </a:lnSpc>
            </a:pPr>
            <a:endParaRPr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2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20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2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2000"/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2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2000"/>
                                        <p:tgtEl>
                                          <p:spTgt spid="1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2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0" dur="2000"/>
                                        <p:tgtEl>
                                          <p:spTgt spid="1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2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5" dur="2000"/>
                                        <p:tgtEl>
                                          <p:spTgt spid="1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2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0" dur="20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2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5" dur="2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2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0" dur="20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2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5" dur="2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/>
      <p:bldP spid="15" grpId="0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五边形 3"/>
          <p:cNvSpPr/>
          <p:nvPr/>
        </p:nvSpPr>
        <p:spPr>
          <a:xfrm>
            <a:off x="589915" y="404495"/>
            <a:ext cx="2465070" cy="619125"/>
          </a:xfrm>
          <a:prstGeom prst="homePlat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/>
              <a:t>典型例题</a:t>
            </a:r>
            <a:r>
              <a:rPr lang="en-US" altLang="zh-CN"/>
              <a:t>4</a:t>
            </a:r>
            <a:endParaRPr lang="en-US" altLang="zh-CN"/>
          </a:p>
        </p:txBody>
      </p:sp>
      <p:sp>
        <p:nvSpPr>
          <p:cNvPr id="9" name="three-books_73757"/>
          <p:cNvSpPr>
            <a:spLocks noChangeAspect="1"/>
          </p:cNvSpPr>
          <p:nvPr/>
        </p:nvSpPr>
        <p:spPr bwMode="auto">
          <a:xfrm>
            <a:off x="11582358" y="6383442"/>
            <a:ext cx="609685" cy="474136"/>
          </a:xfrm>
          <a:custGeom>
            <a:avLst/>
            <a:gdLst>
              <a:gd name="T0" fmla="*/ 2471 w 2903"/>
              <a:gd name="T1" fmla="*/ 1598 h 2261"/>
              <a:gd name="T2" fmla="*/ 2471 w 2903"/>
              <a:gd name="T3" fmla="*/ 2127 h 2261"/>
              <a:gd name="T4" fmla="*/ 2505 w 2903"/>
              <a:gd name="T5" fmla="*/ 2127 h 2261"/>
              <a:gd name="T6" fmla="*/ 2572 w 2903"/>
              <a:gd name="T7" fmla="*/ 2194 h 2261"/>
              <a:gd name="T8" fmla="*/ 2505 w 2903"/>
              <a:gd name="T9" fmla="*/ 2261 h 2261"/>
              <a:gd name="T10" fmla="*/ 2405 w 2903"/>
              <a:gd name="T11" fmla="*/ 2261 h 2261"/>
              <a:gd name="T12" fmla="*/ 2124 w 2903"/>
              <a:gd name="T13" fmla="*/ 2261 h 2261"/>
              <a:gd name="T14" fmla="*/ 398 w 2903"/>
              <a:gd name="T15" fmla="*/ 2261 h 2261"/>
              <a:gd name="T16" fmla="*/ 0 w 2903"/>
              <a:gd name="T17" fmla="*/ 1863 h 2261"/>
              <a:gd name="T18" fmla="*/ 398 w 2903"/>
              <a:gd name="T19" fmla="*/ 1465 h 2261"/>
              <a:gd name="T20" fmla="*/ 2124 w 2903"/>
              <a:gd name="T21" fmla="*/ 1465 h 2261"/>
              <a:gd name="T22" fmla="*/ 2405 w 2903"/>
              <a:gd name="T23" fmla="*/ 1465 h 2261"/>
              <a:gd name="T24" fmla="*/ 2505 w 2903"/>
              <a:gd name="T25" fmla="*/ 1465 h 2261"/>
              <a:gd name="T26" fmla="*/ 2572 w 2903"/>
              <a:gd name="T27" fmla="*/ 1532 h 2261"/>
              <a:gd name="T28" fmla="*/ 2505 w 2903"/>
              <a:gd name="T29" fmla="*/ 1598 h 2261"/>
              <a:gd name="T30" fmla="*/ 2471 w 2903"/>
              <a:gd name="T31" fmla="*/ 1598 h 2261"/>
              <a:gd name="T32" fmla="*/ 2836 w 2903"/>
              <a:gd name="T33" fmla="*/ 1195 h 2261"/>
              <a:gd name="T34" fmla="*/ 2786 w 2903"/>
              <a:gd name="T35" fmla="*/ 1195 h 2261"/>
              <a:gd name="T36" fmla="*/ 2786 w 2903"/>
              <a:gd name="T37" fmla="*/ 786 h 2261"/>
              <a:gd name="T38" fmla="*/ 2836 w 2903"/>
              <a:gd name="T39" fmla="*/ 786 h 2261"/>
              <a:gd name="T40" fmla="*/ 2903 w 2903"/>
              <a:gd name="T41" fmla="*/ 720 h 2261"/>
              <a:gd name="T42" fmla="*/ 2836 w 2903"/>
              <a:gd name="T43" fmla="*/ 653 h 2261"/>
              <a:gd name="T44" fmla="*/ 2720 w 2903"/>
              <a:gd name="T45" fmla="*/ 653 h 2261"/>
              <a:gd name="T46" fmla="*/ 2455 w 2903"/>
              <a:gd name="T47" fmla="*/ 653 h 2261"/>
              <a:gd name="T48" fmla="*/ 1005 w 2903"/>
              <a:gd name="T49" fmla="*/ 653 h 2261"/>
              <a:gd name="T50" fmla="*/ 668 w 2903"/>
              <a:gd name="T51" fmla="*/ 991 h 2261"/>
              <a:gd name="T52" fmla="*/ 1005 w 2903"/>
              <a:gd name="T53" fmla="*/ 1328 h 2261"/>
              <a:gd name="T54" fmla="*/ 2455 w 2903"/>
              <a:gd name="T55" fmla="*/ 1328 h 2261"/>
              <a:gd name="T56" fmla="*/ 2720 w 2903"/>
              <a:gd name="T57" fmla="*/ 1328 h 2261"/>
              <a:gd name="T58" fmla="*/ 2836 w 2903"/>
              <a:gd name="T59" fmla="*/ 1328 h 2261"/>
              <a:gd name="T60" fmla="*/ 2903 w 2903"/>
              <a:gd name="T61" fmla="*/ 1262 h 2261"/>
              <a:gd name="T62" fmla="*/ 2836 w 2903"/>
              <a:gd name="T63" fmla="*/ 1195 h 2261"/>
              <a:gd name="T64" fmla="*/ 226 w 2903"/>
              <a:gd name="T65" fmla="*/ 405 h 2261"/>
              <a:gd name="T66" fmla="*/ 159 w 2903"/>
              <a:gd name="T67" fmla="*/ 472 h 2261"/>
              <a:gd name="T68" fmla="*/ 226 w 2903"/>
              <a:gd name="T69" fmla="*/ 539 h 2261"/>
              <a:gd name="T70" fmla="*/ 323 w 2903"/>
              <a:gd name="T71" fmla="*/ 539 h 2261"/>
              <a:gd name="T72" fmla="*/ 671 w 2903"/>
              <a:gd name="T73" fmla="*/ 539 h 2261"/>
              <a:gd name="T74" fmla="*/ 2248 w 2903"/>
              <a:gd name="T75" fmla="*/ 539 h 2261"/>
              <a:gd name="T76" fmla="*/ 2517 w 2903"/>
              <a:gd name="T77" fmla="*/ 269 h 2261"/>
              <a:gd name="T78" fmla="*/ 2248 w 2903"/>
              <a:gd name="T79" fmla="*/ 0 h 2261"/>
              <a:gd name="T80" fmla="*/ 671 w 2903"/>
              <a:gd name="T81" fmla="*/ 0 h 2261"/>
              <a:gd name="T82" fmla="*/ 323 w 2903"/>
              <a:gd name="T83" fmla="*/ 0 h 2261"/>
              <a:gd name="T84" fmla="*/ 226 w 2903"/>
              <a:gd name="T85" fmla="*/ 0 h 2261"/>
              <a:gd name="T86" fmla="*/ 159 w 2903"/>
              <a:gd name="T87" fmla="*/ 66 h 2261"/>
              <a:gd name="T88" fmla="*/ 226 w 2903"/>
              <a:gd name="T89" fmla="*/ 133 h 2261"/>
              <a:gd name="T90" fmla="*/ 257 w 2903"/>
              <a:gd name="T91" fmla="*/ 133 h 2261"/>
              <a:gd name="T92" fmla="*/ 257 w 2903"/>
              <a:gd name="T93" fmla="*/ 405 h 2261"/>
              <a:gd name="T94" fmla="*/ 226 w 2903"/>
              <a:gd name="T95" fmla="*/ 405 h 22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2903" h="2261">
                <a:moveTo>
                  <a:pt x="2471" y="1598"/>
                </a:moveTo>
                <a:lnTo>
                  <a:pt x="2471" y="2127"/>
                </a:lnTo>
                <a:lnTo>
                  <a:pt x="2505" y="2127"/>
                </a:lnTo>
                <a:cubicBezTo>
                  <a:pt x="2542" y="2127"/>
                  <a:pt x="2572" y="2157"/>
                  <a:pt x="2572" y="2194"/>
                </a:cubicBezTo>
                <a:cubicBezTo>
                  <a:pt x="2572" y="2231"/>
                  <a:pt x="2542" y="2261"/>
                  <a:pt x="2505" y="2261"/>
                </a:cubicBezTo>
                <a:lnTo>
                  <a:pt x="2405" y="2261"/>
                </a:lnTo>
                <a:lnTo>
                  <a:pt x="2124" y="2261"/>
                </a:lnTo>
                <a:lnTo>
                  <a:pt x="398" y="2261"/>
                </a:lnTo>
                <a:cubicBezTo>
                  <a:pt x="178" y="2261"/>
                  <a:pt x="0" y="2082"/>
                  <a:pt x="0" y="1863"/>
                </a:cubicBezTo>
                <a:cubicBezTo>
                  <a:pt x="0" y="1643"/>
                  <a:pt x="178" y="1465"/>
                  <a:pt x="398" y="1465"/>
                </a:cubicBezTo>
                <a:lnTo>
                  <a:pt x="2124" y="1465"/>
                </a:lnTo>
                <a:lnTo>
                  <a:pt x="2405" y="1465"/>
                </a:lnTo>
                <a:lnTo>
                  <a:pt x="2505" y="1465"/>
                </a:lnTo>
                <a:cubicBezTo>
                  <a:pt x="2542" y="1465"/>
                  <a:pt x="2572" y="1495"/>
                  <a:pt x="2572" y="1532"/>
                </a:cubicBezTo>
                <a:cubicBezTo>
                  <a:pt x="2572" y="1568"/>
                  <a:pt x="2542" y="1598"/>
                  <a:pt x="2505" y="1598"/>
                </a:cubicBezTo>
                <a:lnTo>
                  <a:pt x="2471" y="1598"/>
                </a:lnTo>
                <a:close/>
                <a:moveTo>
                  <a:pt x="2836" y="1195"/>
                </a:moveTo>
                <a:lnTo>
                  <a:pt x="2786" y="1195"/>
                </a:lnTo>
                <a:lnTo>
                  <a:pt x="2786" y="786"/>
                </a:lnTo>
                <a:lnTo>
                  <a:pt x="2836" y="786"/>
                </a:lnTo>
                <a:cubicBezTo>
                  <a:pt x="2873" y="786"/>
                  <a:pt x="2903" y="757"/>
                  <a:pt x="2903" y="720"/>
                </a:cubicBezTo>
                <a:cubicBezTo>
                  <a:pt x="2903" y="683"/>
                  <a:pt x="2873" y="653"/>
                  <a:pt x="2836" y="653"/>
                </a:cubicBezTo>
                <a:lnTo>
                  <a:pt x="2720" y="653"/>
                </a:lnTo>
                <a:lnTo>
                  <a:pt x="2455" y="653"/>
                </a:lnTo>
                <a:lnTo>
                  <a:pt x="1005" y="653"/>
                </a:lnTo>
                <a:cubicBezTo>
                  <a:pt x="819" y="653"/>
                  <a:pt x="668" y="805"/>
                  <a:pt x="668" y="991"/>
                </a:cubicBezTo>
                <a:cubicBezTo>
                  <a:pt x="668" y="1177"/>
                  <a:pt x="819" y="1328"/>
                  <a:pt x="1005" y="1328"/>
                </a:cubicBezTo>
                <a:lnTo>
                  <a:pt x="2455" y="1328"/>
                </a:lnTo>
                <a:lnTo>
                  <a:pt x="2720" y="1328"/>
                </a:lnTo>
                <a:lnTo>
                  <a:pt x="2836" y="1328"/>
                </a:lnTo>
                <a:cubicBezTo>
                  <a:pt x="2873" y="1328"/>
                  <a:pt x="2903" y="1299"/>
                  <a:pt x="2903" y="1262"/>
                </a:cubicBezTo>
                <a:cubicBezTo>
                  <a:pt x="2903" y="1225"/>
                  <a:pt x="2873" y="1195"/>
                  <a:pt x="2836" y="1195"/>
                </a:cubicBezTo>
                <a:close/>
                <a:moveTo>
                  <a:pt x="226" y="405"/>
                </a:moveTo>
                <a:cubicBezTo>
                  <a:pt x="189" y="405"/>
                  <a:pt x="159" y="435"/>
                  <a:pt x="159" y="472"/>
                </a:cubicBezTo>
                <a:cubicBezTo>
                  <a:pt x="159" y="509"/>
                  <a:pt x="189" y="539"/>
                  <a:pt x="226" y="539"/>
                </a:cubicBezTo>
                <a:lnTo>
                  <a:pt x="323" y="539"/>
                </a:lnTo>
                <a:lnTo>
                  <a:pt x="671" y="539"/>
                </a:lnTo>
                <a:lnTo>
                  <a:pt x="2248" y="539"/>
                </a:lnTo>
                <a:cubicBezTo>
                  <a:pt x="2396" y="539"/>
                  <a:pt x="2517" y="418"/>
                  <a:pt x="2517" y="269"/>
                </a:cubicBezTo>
                <a:cubicBezTo>
                  <a:pt x="2517" y="121"/>
                  <a:pt x="2396" y="0"/>
                  <a:pt x="2248" y="0"/>
                </a:cubicBezTo>
                <a:lnTo>
                  <a:pt x="671" y="0"/>
                </a:lnTo>
                <a:lnTo>
                  <a:pt x="323" y="0"/>
                </a:lnTo>
                <a:lnTo>
                  <a:pt x="226" y="0"/>
                </a:lnTo>
                <a:cubicBezTo>
                  <a:pt x="189" y="0"/>
                  <a:pt x="159" y="30"/>
                  <a:pt x="159" y="66"/>
                </a:cubicBezTo>
                <a:cubicBezTo>
                  <a:pt x="159" y="103"/>
                  <a:pt x="189" y="133"/>
                  <a:pt x="226" y="133"/>
                </a:cubicBezTo>
                <a:lnTo>
                  <a:pt x="257" y="133"/>
                </a:lnTo>
                <a:lnTo>
                  <a:pt x="257" y="405"/>
                </a:lnTo>
                <a:lnTo>
                  <a:pt x="226" y="405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11" name="up-triangle_59124"/>
          <p:cNvSpPr>
            <a:spLocks noChangeAspect="1"/>
          </p:cNvSpPr>
          <p:nvPr/>
        </p:nvSpPr>
        <p:spPr bwMode="auto">
          <a:xfrm>
            <a:off x="11582357" y="-248"/>
            <a:ext cx="609685" cy="325616"/>
          </a:xfrm>
          <a:custGeom>
            <a:avLst/>
            <a:gdLst>
              <a:gd name="T0" fmla="*/ 1600 w 1707"/>
              <a:gd name="T1" fmla="*/ 0 h 913"/>
              <a:gd name="T2" fmla="*/ 107 w 1707"/>
              <a:gd name="T3" fmla="*/ 0 h 913"/>
              <a:gd name="T4" fmla="*/ 51 w 1707"/>
              <a:gd name="T5" fmla="*/ 136 h 913"/>
              <a:gd name="T6" fmla="*/ 797 w 1707"/>
              <a:gd name="T7" fmla="*/ 882 h 913"/>
              <a:gd name="T8" fmla="*/ 909 w 1707"/>
              <a:gd name="T9" fmla="*/ 882 h 913"/>
              <a:gd name="T10" fmla="*/ 1656 w 1707"/>
              <a:gd name="T11" fmla="*/ 136 h 913"/>
              <a:gd name="T12" fmla="*/ 1600 w 1707"/>
              <a:gd name="T13" fmla="*/ 0 h 9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707" h="913">
                <a:moveTo>
                  <a:pt x="1600" y="0"/>
                </a:moveTo>
                <a:lnTo>
                  <a:pt x="107" y="0"/>
                </a:lnTo>
                <a:cubicBezTo>
                  <a:pt x="36" y="0"/>
                  <a:pt x="0" y="85"/>
                  <a:pt x="51" y="136"/>
                </a:cubicBezTo>
                <a:lnTo>
                  <a:pt x="797" y="882"/>
                </a:lnTo>
                <a:cubicBezTo>
                  <a:pt x="828" y="913"/>
                  <a:pt x="879" y="913"/>
                  <a:pt x="909" y="882"/>
                </a:cubicBezTo>
                <a:lnTo>
                  <a:pt x="1656" y="136"/>
                </a:lnTo>
                <a:cubicBezTo>
                  <a:pt x="1707" y="85"/>
                  <a:pt x="1671" y="0"/>
                  <a:pt x="1600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6" name="文本框 5"/>
          <p:cNvSpPr txBox="1"/>
          <p:nvPr/>
        </p:nvSpPr>
        <p:spPr>
          <a:xfrm>
            <a:off x="430530" y="4050665"/>
            <a:ext cx="1045845" cy="95313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 sz="2800" b="1">
                <a:latin typeface="宋体" panose="02010600030101010101" pitchFamily="2" charset="-122"/>
                <a:ea typeface="宋体" panose="02010600030101010101" pitchFamily="2" charset="-122"/>
              </a:rPr>
              <a:t>问题分析</a:t>
            </a:r>
            <a:endParaRPr lang="zh-CN" altLang="en-US" sz="2800" b="1">
              <a:latin typeface="宋体" panose="02010600030101010101" pitchFamily="2" charset="-122"/>
              <a:ea typeface="宋体" panose="02010600030101010101" pitchFamily="2" charset="-122"/>
            </a:endParaRPr>
          </a:p>
        </p:txBody>
      </p:sp>
      <p:cxnSp>
        <p:nvCxnSpPr>
          <p:cNvPr id="10" name="直接连接符 9"/>
          <p:cNvCxnSpPr/>
          <p:nvPr/>
        </p:nvCxnSpPr>
        <p:spPr>
          <a:xfrm>
            <a:off x="1638935" y="3304540"/>
            <a:ext cx="0" cy="31026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对象 -2147482595"/>
          <p:cNvGraphicFramePr>
            <a:graphicFrameLocks noChangeAspect="1"/>
          </p:cNvGraphicFramePr>
          <p:nvPr/>
        </p:nvGraphicFramePr>
        <p:xfrm>
          <a:off x="1668780" y="1176655"/>
          <a:ext cx="8855075" cy="18103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6" name="" r:id="rId1" imgW="3670300" imgH="749300" progId="Equation.KSEE3">
                  <p:embed/>
                </p:oleObj>
              </mc:Choice>
              <mc:Fallback>
                <p:oleObj name="" r:id="rId1" imgW="3670300" imgH="749300" progId="Equation.KSEE3">
                  <p:embed/>
                  <p:pic>
                    <p:nvPicPr>
                      <p:cNvPr id="0" name="图片 3075"/>
                      <p:cNvPicPr/>
                      <p:nvPr/>
                    </p:nvPicPr>
                    <p:blipFill>
                      <a:blip r:embed="rId2"/>
                      <a:stretch>
                        <a:fillRect/>
                      </a:stretch>
                    </p:blipFill>
                    <p:spPr>
                      <a:xfrm>
                        <a:off x="1668780" y="1176655"/>
                        <a:ext cx="8855075" cy="1810385"/>
                      </a:xfrm>
                      <a:prstGeom prst="rect">
                        <a:avLst/>
                      </a:prstGeom>
                      <a:noFill/>
                      <a:ln w="38100">
                        <a:noFill/>
                        <a:miter/>
                      </a:ln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5" name="对象 -2147482586"/>
          <p:cNvGraphicFramePr>
            <a:graphicFrameLocks noChangeAspect="1"/>
          </p:cNvGraphicFramePr>
          <p:nvPr/>
        </p:nvGraphicFramePr>
        <p:xfrm>
          <a:off x="1944370" y="3190240"/>
          <a:ext cx="4206240" cy="4768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" name="" r:id="rId3" imgW="2019300" imgH="228600" progId="Equation.KSEE3">
                  <p:embed/>
                </p:oleObj>
              </mc:Choice>
              <mc:Fallback>
                <p:oleObj name="" r:id="rId3" imgW="2019300" imgH="228600" progId="Equation.KSEE3">
                  <p:embed/>
                  <p:pic>
                    <p:nvPicPr>
                      <p:cNvPr id="0" name="图片 2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44370" y="3190240"/>
                        <a:ext cx="4206240" cy="476885"/>
                      </a:xfrm>
                      <a:prstGeom prst="rect">
                        <a:avLst/>
                      </a:prstGeom>
                      <a:noFill/>
                      <a:ln w="38100">
                        <a:noFill/>
                        <a:miter/>
                      </a:ln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8" name="对象 -2147482585"/>
          <p:cNvGraphicFramePr>
            <a:graphicFrameLocks noChangeAspect="1"/>
          </p:cNvGraphicFramePr>
          <p:nvPr/>
        </p:nvGraphicFramePr>
        <p:xfrm>
          <a:off x="1914208" y="3667125"/>
          <a:ext cx="4236085" cy="5588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" name="" r:id="rId5" imgW="2120900" imgH="279400" progId="Equation.KSEE3">
                  <p:embed/>
                </p:oleObj>
              </mc:Choice>
              <mc:Fallback>
                <p:oleObj name="" r:id="rId5" imgW="2120900" imgH="279400" progId="Equation.KSEE3">
                  <p:embed/>
                  <p:pic>
                    <p:nvPicPr>
                      <p:cNvPr id="0" name="图片 4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914208" y="3667125"/>
                        <a:ext cx="4236085" cy="558800"/>
                      </a:xfrm>
                      <a:prstGeom prst="rect">
                        <a:avLst/>
                      </a:prstGeom>
                      <a:noFill/>
                      <a:ln w="38100">
                        <a:noFill/>
                        <a:miter/>
                      </a:ln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图片 41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495155" y="2433638"/>
            <a:ext cx="2198370" cy="1990725"/>
          </a:xfrm>
          <a:prstGeom prst="rect">
            <a:avLst/>
          </a:prstGeom>
          <a:noFill/>
          <a:ln>
            <a:noFill/>
          </a:ln>
        </p:spPr>
      </p:pic>
      <p:graphicFrame>
        <p:nvGraphicFramePr>
          <p:cNvPr id="14" name="对象 -2147482583"/>
          <p:cNvGraphicFramePr>
            <a:graphicFrameLocks noChangeAspect="1"/>
          </p:cNvGraphicFramePr>
          <p:nvPr/>
        </p:nvGraphicFramePr>
        <p:xfrm>
          <a:off x="6485255" y="3667125"/>
          <a:ext cx="2915920" cy="4318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" name="" r:id="rId8" imgW="1459865" imgH="215900" progId="Equation.KSEE3">
                  <p:embed/>
                </p:oleObj>
              </mc:Choice>
              <mc:Fallback>
                <p:oleObj name="" r:id="rId8" imgW="1459865" imgH="215900" progId="Equation.KSEE3">
                  <p:embed/>
                  <p:pic>
                    <p:nvPicPr>
                      <p:cNvPr id="0" name="图片 6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6485255" y="3667125"/>
                        <a:ext cx="2915920" cy="431800"/>
                      </a:xfrm>
                      <a:prstGeom prst="rect">
                        <a:avLst/>
                      </a:prstGeom>
                      <a:noFill/>
                      <a:ln w="38100">
                        <a:noFill/>
                        <a:miter/>
                      </a:ln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对象 -2147482582"/>
          <p:cNvGraphicFramePr>
            <a:graphicFrameLocks noChangeAspect="1"/>
          </p:cNvGraphicFramePr>
          <p:nvPr/>
        </p:nvGraphicFramePr>
        <p:xfrm>
          <a:off x="6485255" y="4162425"/>
          <a:ext cx="2054860" cy="4318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" name="" r:id="rId10" imgW="1028700" imgH="215900" progId="Equation.KSEE3">
                  <p:embed/>
                </p:oleObj>
              </mc:Choice>
              <mc:Fallback>
                <p:oleObj name="" r:id="rId10" imgW="1028700" imgH="215900" progId="Equation.KSEE3">
                  <p:embed/>
                  <p:pic>
                    <p:nvPicPr>
                      <p:cNvPr id="0" name="图片 12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6485255" y="4162425"/>
                        <a:ext cx="2054860" cy="431800"/>
                      </a:xfrm>
                      <a:prstGeom prst="rect">
                        <a:avLst/>
                      </a:prstGeom>
                      <a:noFill/>
                      <a:ln w="38100">
                        <a:noFill/>
                        <a:miter/>
                      </a:ln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8" name="对象 -2147482581"/>
          <p:cNvGraphicFramePr>
            <a:graphicFrameLocks noChangeAspect="1"/>
          </p:cNvGraphicFramePr>
          <p:nvPr/>
        </p:nvGraphicFramePr>
        <p:xfrm>
          <a:off x="6485255" y="4657725"/>
          <a:ext cx="2486660" cy="4318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" name="" r:id="rId12" imgW="1244600" imgH="215900" progId="Equation.KSEE3">
                  <p:embed/>
                </p:oleObj>
              </mc:Choice>
              <mc:Fallback>
                <p:oleObj name="" r:id="rId12" imgW="1244600" imgH="215900" progId="Equation.KSEE3">
                  <p:embed/>
                  <p:pic>
                    <p:nvPicPr>
                      <p:cNvPr id="0" name="图片 13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6485255" y="4657725"/>
                        <a:ext cx="2486660" cy="431800"/>
                      </a:xfrm>
                      <a:prstGeom prst="rect">
                        <a:avLst/>
                      </a:prstGeom>
                      <a:noFill/>
                      <a:ln w="38100">
                        <a:noFill/>
                        <a:miter/>
                      </a:ln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0" name="对象 -2147482580"/>
          <p:cNvGraphicFramePr>
            <a:graphicFrameLocks noChangeAspect="1"/>
          </p:cNvGraphicFramePr>
          <p:nvPr/>
        </p:nvGraphicFramePr>
        <p:xfrm>
          <a:off x="1944370" y="5217795"/>
          <a:ext cx="2767330" cy="4400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" name="" r:id="rId14" imgW="1358900" imgH="215900" progId="Equation.KSEE3">
                  <p:embed/>
                </p:oleObj>
              </mc:Choice>
              <mc:Fallback>
                <p:oleObj name="" r:id="rId14" imgW="1358900" imgH="215900" progId="Equation.KSEE3">
                  <p:embed/>
                  <p:pic>
                    <p:nvPicPr>
                      <p:cNvPr id="0" name="图片 14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944370" y="5217795"/>
                        <a:ext cx="2767330" cy="440055"/>
                      </a:xfrm>
                      <a:prstGeom prst="rect">
                        <a:avLst/>
                      </a:prstGeom>
                      <a:noFill/>
                      <a:ln w="38100">
                        <a:noFill/>
                        <a:miter/>
                      </a:ln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2" name="对象 -2147482579"/>
          <p:cNvGraphicFramePr>
            <a:graphicFrameLocks noChangeAspect="1"/>
          </p:cNvGraphicFramePr>
          <p:nvPr/>
        </p:nvGraphicFramePr>
        <p:xfrm>
          <a:off x="5097780" y="5217795"/>
          <a:ext cx="3543935" cy="46101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" name="" r:id="rId16" imgW="1663700" imgH="215900" progId="Equation.KSEE3">
                  <p:embed/>
                </p:oleObj>
              </mc:Choice>
              <mc:Fallback>
                <p:oleObj name="" r:id="rId16" imgW="1663700" imgH="215900" progId="Equation.KSEE3">
                  <p:embed/>
                  <p:pic>
                    <p:nvPicPr>
                      <p:cNvPr id="0" name="图片 15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5097780" y="5217795"/>
                        <a:ext cx="3543935" cy="461010"/>
                      </a:xfrm>
                      <a:prstGeom prst="rect">
                        <a:avLst/>
                      </a:prstGeom>
                      <a:noFill/>
                      <a:ln w="38100">
                        <a:noFill/>
                        <a:miter/>
                      </a:ln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4" name="对象 -2147482578"/>
          <p:cNvGraphicFramePr>
            <a:graphicFrameLocks noChangeAspect="1"/>
          </p:cNvGraphicFramePr>
          <p:nvPr/>
        </p:nvGraphicFramePr>
        <p:xfrm>
          <a:off x="1944370" y="5754370"/>
          <a:ext cx="3083560" cy="4603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" name="" r:id="rId18" imgW="1447800" imgH="215900" progId="Equation.KSEE3">
                  <p:embed/>
                </p:oleObj>
              </mc:Choice>
              <mc:Fallback>
                <p:oleObj name="" r:id="rId18" imgW="1447800" imgH="215900" progId="Equation.KSEE3">
                  <p:embed/>
                  <p:pic>
                    <p:nvPicPr>
                      <p:cNvPr id="0" name="图片 16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944370" y="5754370"/>
                        <a:ext cx="3083560" cy="460375"/>
                      </a:xfrm>
                      <a:prstGeom prst="rect">
                        <a:avLst/>
                      </a:prstGeom>
                      <a:noFill/>
                      <a:ln w="38100">
                        <a:noFill/>
                        <a:miter/>
                      </a:ln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2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2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2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2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plus(in)">
                                      <p:cBhvr>
                                        <p:cTn id="17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2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2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2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" dur="2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2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2" dur="2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2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7" dur="20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2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2" dur="20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2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7" dur="20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五边形 2"/>
          <p:cNvSpPr/>
          <p:nvPr/>
        </p:nvSpPr>
        <p:spPr>
          <a:xfrm>
            <a:off x="1986915" y="283845"/>
            <a:ext cx="5052695" cy="395605"/>
          </a:xfrm>
          <a:prstGeom prst="homePlat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  <p:cxnSp>
        <p:nvCxnSpPr>
          <p:cNvPr id="11" name="直接连接符 10"/>
          <p:cNvCxnSpPr/>
          <p:nvPr/>
        </p:nvCxnSpPr>
        <p:spPr>
          <a:xfrm flipH="1">
            <a:off x="1907015" y="690880"/>
            <a:ext cx="9610" cy="5430515"/>
          </a:xfrm>
          <a:prstGeom prst="line">
            <a:avLst/>
          </a:prstGeom>
          <a:solidFill>
            <a:srgbClr val="FFCC00"/>
          </a:solidFill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2" name="poetry_91022"/>
          <p:cNvSpPr>
            <a:spLocks noChangeAspect="1"/>
          </p:cNvSpPr>
          <p:nvPr>
            <p:custDataLst>
              <p:tags r:id="rId1"/>
            </p:custDataLst>
          </p:nvPr>
        </p:nvSpPr>
        <p:spPr bwMode="auto">
          <a:xfrm>
            <a:off x="469265" y="5129001"/>
            <a:ext cx="898119" cy="1241320"/>
          </a:xfrm>
          <a:custGeom>
            <a:avLst/>
            <a:gdLst>
              <a:gd name="T0" fmla="*/ 3353 w 5127"/>
              <a:gd name="T1" fmla="*/ 1728 h 5401"/>
              <a:gd name="T2" fmla="*/ 2183 w 5127"/>
              <a:gd name="T3" fmla="*/ 1608 h 5401"/>
              <a:gd name="T4" fmla="*/ 3353 w 5127"/>
              <a:gd name="T5" fmla="*/ 1488 h 5401"/>
              <a:gd name="T6" fmla="*/ 3103 w 5127"/>
              <a:gd name="T7" fmla="*/ 2231 h 5401"/>
              <a:gd name="T8" fmla="*/ 3103 w 5127"/>
              <a:gd name="T9" fmla="*/ 1991 h 5401"/>
              <a:gd name="T10" fmla="*/ 2432 w 5127"/>
              <a:gd name="T11" fmla="*/ 2111 h 5401"/>
              <a:gd name="T12" fmla="*/ 3103 w 5127"/>
              <a:gd name="T13" fmla="*/ 2231 h 5401"/>
              <a:gd name="T14" fmla="*/ 3353 w 5127"/>
              <a:gd name="T15" fmla="*/ 2648 h 5401"/>
              <a:gd name="T16" fmla="*/ 2183 w 5127"/>
              <a:gd name="T17" fmla="*/ 2768 h 5401"/>
              <a:gd name="T18" fmla="*/ 3353 w 5127"/>
              <a:gd name="T19" fmla="*/ 2888 h 5401"/>
              <a:gd name="T20" fmla="*/ 2552 w 5127"/>
              <a:gd name="T21" fmla="*/ 3151 h 5401"/>
              <a:gd name="T22" fmla="*/ 2552 w 5127"/>
              <a:gd name="T23" fmla="*/ 3391 h 5401"/>
              <a:gd name="T24" fmla="*/ 3223 w 5127"/>
              <a:gd name="T25" fmla="*/ 3271 h 5401"/>
              <a:gd name="T26" fmla="*/ 2552 w 5127"/>
              <a:gd name="T27" fmla="*/ 3151 h 5401"/>
              <a:gd name="T28" fmla="*/ 4448 w 5127"/>
              <a:gd name="T29" fmla="*/ 1442 h 5401"/>
              <a:gd name="T30" fmla="*/ 4688 w 5127"/>
              <a:gd name="T31" fmla="*/ 1442 h 5401"/>
              <a:gd name="T32" fmla="*/ 3988 w 5127"/>
              <a:gd name="T33" fmla="*/ 0 h 5401"/>
              <a:gd name="T34" fmla="*/ 0 w 5127"/>
              <a:gd name="T35" fmla="*/ 604 h 5401"/>
              <a:gd name="T36" fmla="*/ 120 w 5127"/>
              <a:gd name="T37" fmla="*/ 1792 h 5401"/>
              <a:gd name="T38" fmla="*/ 686 w 5127"/>
              <a:gd name="T39" fmla="*/ 1672 h 5401"/>
              <a:gd name="T40" fmla="*/ 240 w 5127"/>
              <a:gd name="T41" fmla="*/ 1552 h 5401"/>
              <a:gd name="T42" fmla="*/ 604 w 5127"/>
              <a:gd name="T43" fmla="*/ 240 h 5401"/>
              <a:gd name="T44" fmla="*/ 968 w 5127"/>
              <a:gd name="T45" fmla="*/ 4179 h 5401"/>
              <a:gd name="T46" fmla="*/ 3904 w 5127"/>
              <a:gd name="T47" fmla="*/ 4879 h 5401"/>
              <a:gd name="T48" fmla="*/ 3904 w 5127"/>
              <a:gd name="T49" fmla="*/ 4639 h 5401"/>
              <a:gd name="T50" fmla="*/ 1208 w 5127"/>
              <a:gd name="T51" fmla="*/ 4179 h 5401"/>
              <a:gd name="T52" fmla="*/ 1086 w 5127"/>
              <a:gd name="T53" fmla="*/ 240 h 5401"/>
              <a:gd name="T54" fmla="*/ 4448 w 5127"/>
              <a:gd name="T55" fmla="*/ 700 h 5401"/>
              <a:gd name="T56" fmla="*/ 4568 w 5127"/>
              <a:gd name="T57" fmla="*/ 2000 h 5401"/>
              <a:gd name="T58" fmla="*/ 4568 w 5127"/>
              <a:gd name="T59" fmla="*/ 2240 h 5401"/>
              <a:gd name="T60" fmla="*/ 4887 w 5127"/>
              <a:gd name="T61" fmla="*/ 2340 h 5401"/>
              <a:gd name="T62" fmla="*/ 5007 w 5127"/>
              <a:gd name="T63" fmla="*/ 3838 h 5401"/>
              <a:gd name="T64" fmla="*/ 5127 w 5127"/>
              <a:gd name="T65" fmla="*/ 2340 h 5401"/>
              <a:gd name="T66" fmla="*/ 4568 w 5127"/>
              <a:gd name="T67" fmla="*/ 5139 h 5401"/>
              <a:gd name="T68" fmla="*/ 4448 w 5127"/>
              <a:gd name="T69" fmla="*/ 5281 h 5401"/>
              <a:gd name="T70" fmla="*/ 4688 w 5127"/>
              <a:gd name="T71" fmla="*/ 5281 h 5401"/>
              <a:gd name="T72" fmla="*/ 4568 w 5127"/>
              <a:gd name="T73" fmla="*/ 5139 h 5401"/>
              <a:gd name="T74" fmla="*/ 4448 w 5127"/>
              <a:gd name="T75" fmla="*/ 2559 h 5401"/>
              <a:gd name="T76" fmla="*/ 4568 w 5127"/>
              <a:gd name="T77" fmla="*/ 4974 h 5401"/>
              <a:gd name="T78" fmla="*/ 4688 w 5127"/>
              <a:gd name="T79" fmla="*/ 2559 h 54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5127" h="5401">
                <a:moveTo>
                  <a:pt x="3473" y="1608"/>
                </a:moveTo>
                <a:cubicBezTo>
                  <a:pt x="3473" y="1674"/>
                  <a:pt x="3419" y="1728"/>
                  <a:pt x="3353" y="1728"/>
                </a:cubicBezTo>
                <a:lnTo>
                  <a:pt x="2303" y="1728"/>
                </a:lnTo>
                <a:cubicBezTo>
                  <a:pt x="2236" y="1728"/>
                  <a:pt x="2183" y="1674"/>
                  <a:pt x="2183" y="1608"/>
                </a:cubicBezTo>
                <a:cubicBezTo>
                  <a:pt x="2183" y="1542"/>
                  <a:pt x="2236" y="1488"/>
                  <a:pt x="2303" y="1488"/>
                </a:cubicBezTo>
                <a:lnTo>
                  <a:pt x="3353" y="1488"/>
                </a:lnTo>
                <a:cubicBezTo>
                  <a:pt x="3419" y="1488"/>
                  <a:pt x="3473" y="1542"/>
                  <a:pt x="3473" y="1608"/>
                </a:cubicBezTo>
                <a:close/>
                <a:moveTo>
                  <a:pt x="3103" y="2231"/>
                </a:moveTo>
                <a:cubicBezTo>
                  <a:pt x="3170" y="2231"/>
                  <a:pt x="3223" y="2178"/>
                  <a:pt x="3223" y="2111"/>
                </a:cubicBezTo>
                <a:cubicBezTo>
                  <a:pt x="3223" y="2045"/>
                  <a:pt x="3170" y="1991"/>
                  <a:pt x="3103" y="1991"/>
                </a:cubicBezTo>
                <a:lnTo>
                  <a:pt x="2552" y="1991"/>
                </a:lnTo>
                <a:cubicBezTo>
                  <a:pt x="2486" y="1991"/>
                  <a:pt x="2432" y="2045"/>
                  <a:pt x="2432" y="2111"/>
                </a:cubicBezTo>
                <a:cubicBezTo>
                  <a:pt x="2432" y="2178"/>
                  <a:pt x="2486" y="2231"/>
                  <a:pt x="2552" y="2231"/>
                </a:cubicBezTo>
                <a:lnTo>
                  <a:pt x="3103" y="2231"/>
                </a:lnTo>
                <a:close/>
                <a:moveTo>
                  <a:pt x="3473" y="2768"/>
                </a:moveTo>
                <a:cubicBezTo>
                  <a:pt x="3473" y="2701"/>
                  <a:pt x="3419" y="2648"/>
                  <a:pt x="3353" y="2648"/>
                </a:cubicBezTo>
                <a:lnTo>
                  <a:pt x="2303" y="2648"/>
                </a:lnTo>
                <a:cubicBezTo>
                  <a:pt x="2236" y="2648"/>
                  <a:pt x="2183" y="2701"/>
                  <a:pt x="2183" y="2768"/>
                </a:cubicBezTo>
                <a:cubicBezTo>
                  <a:pt x="2183" y="2834"/>
                  <a:pt x="2236" y="2888"/>
                  <a:pt x="2303" y="2888"/>
                </a:cubicBezTo>
                <a:lnTo>
                  <a:pt x="3353" y="2888"/>
                </a:lnTo>
                <a:cubicBezTo>
                  <a:pt x="3419" y="2888"/>
                  <a:pt x="3473" y="2834"/>
                  <a:pt x="3473" y="2768"/>
                </a:cubicBezTo>
                <a:close/>
                <a:moveTo>
                  <a:pt x="2552" y="3151"/>
                </a:moveTo>
                <a:cubicBezTo>
                  <a:pt x="2486" y="3151"/>
                  <a:pt x="2432" y="3205"/>
                  <a:pt x="2432" y="3271"/>
                </a:cubicBezTo>
                <a:cubicBezTo>
                  <a:pt x="2432" y="3338"/>
                  <a:pt x="2486" y="3391"/>
                  <a:pt x="2552" y="3391"/>
                </a:cubicBezTo>
                <a:lnTo>
                  <a:pt x="3103" y="3391"/>
                </a:lnTo>
                <a:cubicBezTo>
                  <a:pt x="3170" y="3391"/>
                  <a:pt x="3223" y="3338"/>
                  <a:pt x="3223" y="3271"/>
                </a:cubicBezTo>
                <a:cubicBezTo>
                  <a:pt x="3223" y="3205"/>
                  <a:pt x="3170" y="3151"/>
                  <a:pt x="3103" y="3151"/>
                </a:cubicBezTo>
                <a:lnTo>
                  <a:pt x="2552" y="3151"/>
                </a:lnTo>
                <a:close/>
                <a:moveTo>
                  <a:pt x="4448" y="700"/>
                </a:moveTo>
                <a:lnTo>
                  <a:pt x="4448" y="1442"/>
                </a:lnTo>
                <a:cubicBezTo>
                  <a:pt x="4448" y="1509"/>
                  <a:pt x="4501" y="1562"/>
                  <a:pt x="4568" y="1562"/>
                </a:cubicBezTo>
                <a:cubicBezTo>
                  <a:pt x="4634" y="1562"/>
                  <a:pt x="4688" y="1509"/>
                  <a:pt x="4688" y="1442"/>
                </a:cubicBezTo>
                <a:lnTo>
                  <a:pt x="4688" y="700"/>
                </a:lnTo>
                <a:cubicBezTo>
                  <a:pt x="4688" y="314"/>
                  <a:pt x="4374" y="0"/>
                  <a:pt x="3988" y="0"/>
                </a:cubicBezTo>
                <a:lnTo>
                  <a:pt x="604" y="0"/>
                </a:lnTo>
                <a:cubicBezTo>
                  <a:pt x="271" y="0"/>
                  <a:pt x="0" y="271"/>
                  <a:pt x="0" y="604"/>
                </a:cubicBezTo>
                <a:lnTo>
                  <a:pt x="0" y="1672"/>
                </a:lnTo>
                <a:cubicBezTo>
                  <a:pt x="0" y="1738"/>
                  <a:pt x="53" y="1792"/>
                  <a:pt x="120" y="1792"/>
                </a:cubicBezTo>
                <a:lnTo>
                  <a:pt x="566" y="1792"/>
                </a:lnTo>
                <a:cubicBezTo>
                  <a:pt x="632" y="1792"/>
                  <a:pt x="686" y="1738"/>
                  <a:pt x="686" y="1672"/>
                </a:cubicBezTo>
                <a:cubicBezTo>
                  <a:pt x="686" y="1606"/>
                  <a:pt x="632" y="1552"/>
                  <a:pt x="566" y="1552"/>
                </a:cubicBezTo>
                <a:lnTo>
                  <a:pt x="240" y="1552"/>
                </a:lnTo>
                <a:lnTo>
                  <a:pt x="240" y="604"/>
                </a:lnTo>
                <a:cubicBezTo>
                  <a:pt x="240" y="403"/>
                  <a:pt x="403" y="240"/>
                  <a:pt x="604" y="240"/>
                </a:cubicBezTo>
                <a:cubicBezTo>
                  <a:pt x="805" y="240"/>
                  <a:pt x="968" y="403"/>
                  <a:pt x="968" y="604"/>
                </a:cubicBezTo>
                <a:lnTo>
                  <a:pt x="968" y="4179"/>
                </a:lnTo>
                <a:cubicBezTo>
                  <a:pt x="968" y="4565"/>
                  <a:pt x="1282" y="4879"/>
                  <a:pt x="1668" y="4879"/>
                </a:cubicBezTo>
                <a:lnTo>
                  <a:pt x="3904" y="4879"/>
                </a:lnTo>
                <a:cubicBezTo>
                  <a:pt x="3970" y="4879"/>
                  <a:pt x="4024" y="4825"/>
                  <a:pt x="4024" y="4759"/>
                </a:cubicBezTo>
                <a:cubicBezTo>
                  <a:pt x="4024" y="4693"/>
                  <a:pt x="3970" y="4639"/>
                  <a:pt x="3904" y="4639"/>
                </a:cubicBezTo>
                <a:lnTo>
                  <a:pt x="1668" y="4639"/>
                </a:lnTo>
                <a:cubicBezTo>
                  <a:pt x="1415" y="4639"/>
                  <a:pt x="1208" y="4433"/>
                  <a:pt x="1208" y="4179"/>
                </a:cubicBezTo>
                <a:lnTo>
                  <a:pt x="1208" y="604"/>
                </a:lnTo>
                <a:cubicBezTo>
                  <a:pt x="1208" y="468"/>
                  <a:pt x="1163" y="341"/>
                  <a:pt x="1086" y="240"/>
                </a:cubicBezTo>
                <a:lnTo>
                  <a:pt x="3988" y="240"/>
                </a:lnTo>
                <a:cubicBezTo>
                  <a:pt x="4241" y="240"/>
                  <a:pt x="4448" y="446"/>
                  <a:pt x="4448" y="700"/>
                </a:cubicBezTo>
                <a:close/>
                <a:moveTo>
                  <a:pt x="4787" y="2000"/>
                </a:moveTo>
                <a:lnTo>
                  <a:pt x="4568" y="2000"/>
                </a:lnTo>
                <a:cubicBezTo>
                  <a:pt x="4501" y="2000"/>
                  <a:pt x="4448" y="2054"/>
                  <a:pt x="4448" y="2120"/>
                </a:cubicBezTo>
                <a:cubicBezTo>
                  <a:pt x="4448" y="2187"/>
                  <a:pt x="4501" y="2240"/>
                  <a:pt x="4568" y="2240"/>
                </a:cubicBezTo>
                <a:lnTo>
                  <a:pt x="4787" y="2240"/>
                </a:lnTo>
                <a:cubicBezTo>
                  <a:pt x="4842" y="2240"/>
                  <a:pt x="4887" y="2285"/>
                  <a:pt x="4887" y="2340"/>
                </a:cubicBezTo>
                <a:lnTo>
                  <a:pt x="4887" y="3718"/>
                </a:lnTo>
                <a:cubicBezTo>
                  <a:pt x="4887" y="3785"/>
                  <a:pt x="4941" y="3838"/>
                  <a:pt x="5007" y="3838"/>
                </a:cubicBezTo>
                <a:cubicBezTo>
                  <a:pt x="5073" y="3838"/>
                  <a:pt x="5127" y="3785"/>
                  <a:pt x="5127" y="3718"/>
                </a:cubicBezTo>
                <a:lnTo>
                  <a:pt x="5127" y="2340"/>
                </a:lnTo>
                <a:cubicBezTo>
                  <a:pt x="5127" y="2153"/>
                  <a:pt x="4975" y="2000"/>
                  <a:pt x="4787" y="2000"/>
                </a:cubicBezTo>
                <a:close/>
                <a:moveTo>
                  <a:pt x="4568" y="5139"/>
                </a:moveTo>
                <a:cubicBezTo>
                  <a:pt x="4501" y="5139"/>
                  <a:pt x="4448" y="5193"/>
                  <a:pt x="4448" y="5259"/>
                </a:cubicBezTo>
                <a:lnTo>
                  <a:pt x="4448" y="5281"/>
                </a:lnTo>
                <a:cubicBezTo>
                  <a:pt x="4448" y="5347"/>
                  <a:pt x="4501" y="5401"/>
                  <a:pt x="4568" y="5401"/>
                </a:cubicBezTo>
                <a:cubicBezTo>
                  <a:pt x="4634" y="5401"/>
                  <a:pt x="4688" y="5347"/>
                  <a:pt x="4688" y="5281"/>
                </a:cubicBezTo>
                <a:lnTo>
                  <a:pt x="4688" y="5259"/>
                </a:lnTo>
                <a:cubicBezTo>
                  <a:pt x="4688" y="5193"/>
                  <a:pt x="4634" y="5139"/>
                  <a:pt x="4568" y="5139"/>
                </a:cubicBezTo>
                <a:close/>
                <a:moveTo>
                  <a:pt x="4568" y="2439"/>
                </a:moveTo>
                <a:cubicBezTo>
                  <a:pt x="4501" y="2439"/>
                  <a:pt x="4448" y="2492"/>
                  <a:pt x="4448" y="2559"/>
                </a:cubicBezTo>
                <a:lnTo>
                  <a:pt x="4448" y="4854"/>
                </a:lnTo>
                <a:cubicBezTo>
                  <a:pt x="4448" y="4920"/>
                  <a:pt x="4501" y="4974"/>
                  <a:pt x="4568" y="4974"/>
                </a:cubicBezTo>
                <a:cubicBezTo>
                  <a:pt x="4634" y="4974"/>
                  <a:pt x="4688" y="4920"/>
                  <a:pt x="4688" y="4854"/>
                </a:cubicBezTo>
                <a:lnTo>
                  <a:pt x="4688" y="2559"/>
                </a:lnTo>
                <a:cubicBezTo>
                  <a:pt x="4688" y="2492"/>
                  <a:pt x="4634" y="2439"/>
                  <a:pt x="4568" y="2439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txBody>
          <a:bodyPr/>
          <a:p>
            <a:endParaRPr lang="zh-CN" altLang="en-US" sz="1350">
              <a:cs typeface="+mn-ea"/>
              <a:sym typeface="+mn-lt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630555" y="1323975"/>
            <a:ext cx="736600" cy="2301240"/>
          </a:xfrm>
          <a:prstGeom prst="rect">
            <a:avLst/>
          </a:prstGeom>
          <a:noFill/>
        </p:spPr>
        <p:txBody>
          <a:bodyPr vert="eaVert" wrap="none" rtlCol="0">
            <a:spAutoFit/>
          </a:bodyPr>
          <a:p>
            <a:r>
              <a:rPr lang="zh-CN" altLang="en-US" sz="3600"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sym typeface="+mn-ea"/>
              </a:rPr>
              <a:t>复 合 函 数</a:t>
            </a:r>
            <a:endParaRPr lang="zh-CN" altLang="en-US" sz="3600"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sym typeface="+mn-ea"/>
            </a:endParaRPr>
          </a:p>
        </p:txBody>
      </p:sp>
      <p:graphicFrame>
        <p:nvGraphicFramePr>
          <p:cNvPr id="4" name="对象 -2147482593"/>
          <p:cNvGraphicFramePr>
            <a:graphicFrameLocks noChangeAspect="1"/>
          </p:cNvGraphicFramePr>
          <p:nvPr/>
        </p:nvGraphicFramePr>
        <p:xfrm>
          <a:off x="1916430" y="259080"/>
          <a:ext cx="4970780" cy="4318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6" name="" r:id="rId2" imgW="2489200" imgH="215900" progId="Equation.KSEE3">
                  <p:embed/>
                </p:oleObj>
              </mc:Choice>
              <mc:Fallback>
                <p:oleObj name="" r:id="rId2" imgW="2489200" imgH="215900" progId="Equation.KSEE3">
                  <p:embed/>
                  <p:pic>
                    <p:nvPicPr>
                      <p:cNvPr id="0" name="图片 3075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916430" y="259080"/>
                        <a:ext cx="4970780" cy="431800"/>
                      </a:xfrm>
                      <a:prstGeom prst="rect">
                        <a:avLst/>
                      </a:prstGeom>
                      <a:noFill/>
                      <a:ln w="38100">
                        <a:noFill/>
                        <a:miter/>
                      </a:ln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5" name="对象 -2147482592"/>
          <p:cNvGraphicFramePr>
            <a:graphicFrameLocks noChangeAspect="1"/>
          </p:cNvGraphicFramePr>
          <p:nvPr/>
        </p:nvGraphicFramePr>
        <p:xfrm>
          <a:off x="2155508" y="1198880"/>
          <a:ext cx="1395095" cy="4064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" name="" r:id="rId4" imgW="698500" imgH="203200" progId="Equation.KSEE3">
                  <p:embed/>
                </p:oleObj>
              </mc:Choice>
              <mc:Fallback>
                <p:oleObj name="" r:id="rId4" imgW="698500" imgH="203200" progId="Equation.KSEE3">
                  <p:embed/>
                  <p:pic>
                    <p:nvPicPr>
                      <p:cNvPr id="0" name="图片 3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55508" y="1198880"/>
                        <a:ext cx="1395095" cy="406400"/>
                      </a:xfrm>
                      <a:prstGeom prst="rect">
                        <a:avLst/>
                      </a:prstGeom>
                      <a:noFill/>
                      <a:ln w="38100">
                        <a:noFill/>
                        <a:miter/>
                      </a:ln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7" name="对象 -2147482591"/>
          <p:cNvGraphicFramePr>
            <a:graphicFrameLocks noChangeAspect="1"/>
          </p:cNvGraphicFramePr>
          <p:nvPr/>
        </p:nvGraphicFramePr>
        <p:xfrm>
          <a:off x="4014788" y="1186180"/>
          <a:ext cx="4617085" cy="4318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" name="" r:id="rId6" imgW="2311400" imgH="215900" progId="Equation.KSEE3">
                  <p:embed/>
                </p:oleObj>
              </mc:Choice>
              <mc:Fallback>
                <p:oleObj name="" r:id="rId6" imgW="2311400" imgH="215900" progId="Equation.KSEE3">
                  <p:embed/>
                  <p:pic>
                    <p:nvPicPr>
                      <p:cNvPr id="0" name="图片 5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4014788" y="1186180"/>
                        <a:ext cx="4617085" cy="431800"/>
                      </a:xfrm>
                      <a:prstGeom prst="rect">
                        <a:avLst/>
                      </a:prstGeom>
                      <a:noFill/>
                      <a:ln w="38100">
                        <a:noFill/>
                        <a:miter/>
                      </a:ln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对象 -2147482590"/>
          <p:cNvGraphicFramePr>
            <a:graphicFrameLocks noChangeAspect="1"/>
          </p:cNvGraphicFramePr>
          <p:nvPr/>
        </p:nvGraphicFramePr>
        <p:xfrm>
          <a:off x="4015105" y="1798955"/>
          <a:ext cx="4617720" cy="4318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" name="" r:id="rId8" imgW="2311400" imgH="215900" progId="Equation.KSEE3">
                  <p:embed/>
                </p:oleObj>
              </mc:Choice>
              <mc:Fallback>
                <p:oleObj name="" r:id="rId8" imgW="2311400" imgH="215900" progId="Equation.KSEE3">
                  <p:embed/>
                  <p:pic>
                    <p:nvPicPr>
                      <p:cNvPr id="0" name="图片 6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4015105" y="1798955"/>
                        <a:ext cx="4617720" cy="431800"/>
                      </a:xfrm>
                      <a:prstGeom prst="rect">
                        <a:avLst/>
                      </a:prstGeom>
                      <a:noFill/>
                      <a:ln w="38100">
                        <a:noFill/>
                        <a:miter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0" name="文本框 99"/>
          <p:cNvSpPr txBox="1"/>
          <p:nvPr/>
        </p:nvSpPr>
        <p:spPr>
          <a:xfrm>
            <a:off x="2155825" y="2230755"/>
            <a:ext cx="5080000" cy="491490"/>
          </a:xfrm>
          <a:prstGeom prst="rect">
            <a:avLst/>
          </a:prstGeom>
          <a:noFill/>
          <a:ln w="9525">
            <a:noFill/>
          </a:ln>
        </p:spPr>
        <p:txBody>
          <a:bodyPr>
            <a:spAutoFit/>
          </a:bodyPr>
          <a:p>
            <a:pPr indent="0"/>
            <a:r>
              <a:rPr lang="zh-CN" sz="2600" b="0">
                <a:latin typeface="Calibri" panose="020F0502020204030204" charset="0"/>
                <a:ea typeface="宋体" panose="02010600030101010101" pitchFamily="2" charset="-122"/>
              </a:rPr>
              <a:t>技巧：</a:t>
            </a:r>
            <a:endParaRPr lang="zh-CN" altLang="en-US"/>
          </a:p>
        </p:txBody>
      </p:sp>
      <p:pic>
        <p:nvPicPr>
          <p:cNvPr id="13" name="图片 37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155825" y="2722245"/>
            <a:ext cx="9455150" cy="12065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4" name="图片 38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2155825" y="4067175"/>
            <a:ext cx="9246235" cy="244221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2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2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2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2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5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7" dur="5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2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2000"/>
                                        <p:tgtEl>
                                          <p:spTgt spid="10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2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" dur="2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3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2" dur="3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0" grpId="0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>
          <a:xfrm>
            <a:off x="3797977" y="2794014"/>
            <a:ext cx="5419185" cy="895350"/>
          </a:xfrm>
        </p:spPr>
        <p:txBody>
          <a:bodyPr/>
          <a:lstStyle/>
          <a:p>
            <a:r>
              <a:rPr lang="zh-CN" altLang="en-US" sz="3600"/>
              <a:t>小结</a:t>
            </a:r>
            <a:endParaRPr lang="zh-CN" altLang="en-US" sz="3600" dirty="0"/>
          </a:p>
        </p:txBody>
      </p:sp>
      <p:sp>
        <p:nvSpPr>
          <p:cNvPr id="9" name="文本框 8"/>
          <p:cNvSpPr txBox="1"/>
          <p:nvPr/>
        </p:nvSpPr>
        <p:spPr>
          <a:xfrm>
            <a:off x="3030062" y="2643188"/>
            <a:ext cx="767637" cy="667432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pPr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</a:pPr>
            <a:r>
              <a:rPr lang="en-US" altLang="zh-CN" b="1" u="none" spc="100" dirty="0">
                <a:solidFill>
                  <a:srgbClr val="00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Arial" panose="020B0604020202020204" pitchFamily="34" charset="0"/>
              </a:rPr>
              <a:t>/03</a:t>
            </a:r>
            <a:endParaRPr lang="en-US" altLang="zh-CN" b="1" u="none" spc="100" dirty="0">
              <a:solidFill>
                <a:srgbClr val="000000"/>
              </a:solidFill>
              <a:latin typeface="宋体" panose="02010600030101010101" pitchFamily="2" charset="-122"/>
              <a:ea typeface="宋体" panose="02010600030101010101" pitchFamily="2" charset="-122"/>
              <a:cs typeface="Arial" panose="020B0604020202020204" pitchFamily="34" charset="0"/>
            </a:endParaRPr>
          </a:p>
        </p:txBody>
      </p:sp>
    </p:spTree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直接连接符 10"/>
          <p:cNvCxnSpPr/>
          <p:nvPr/>
        </p:nvCxnSpPr>
        <p:spPr>
          <a:xfrm flipH="1">
            <a:off x="1907015" y="690880"/>
            <a:ext cx="9610" cy="5430515"/>
          </a:xfrm>
          <a:prstGeom prst="line">
            <a:avLst/>
          </a:prstGeom>
          <a:solidFill>
            <a:srgbClr val="FFCC00"/>
          </a:solidFill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2" name="poetry_91022"/>
          <p:cNvSpPr>
            <a:spLocks noChangeAspect="1"/>
          </p:cNvSpPr>
          <p:nvPr>
            <p:custDataLst>
              <p:tags r:id="rId1"/>
            </p:custDataLst>
          </p:nvPr>
        </p:nvSpPr>
        <p:spPr bwMode="auto">
          <a:xfrm>
            <a:off x="469265" y="5129001"/>
            <a:ext cx="898119" cy="1241320"/>
          </a:xfrm>
          <a:custGeom>
            <a:avLst/>
            <a:gdLst>
              <a:gd name="T0" fmla="*/ 3353 w 5127"/>
              <a:gd name="T1" fmla="*/ 1728 h 5401"/>
              <a:gd name="T2" fmla="*/ 2183 w 5127"/>
              <a:gd name="T3" fmla="*/ 1608 h 5401"/>
              <a:gd name="T4" fmla="*/ 3353 w 5127"/>
              <a:gd name="T5" fmla="*/ 1488 h 5401"/>
              <a:gd name="T6" fmla="*/ 3103 w 5127"/>
              <a:gd name="T7" fmla="*/ 2231 h 5401"/>
              <a:gd name="T8" fmla="*/ 3103 w 5127"/>
              <a:gd name="T9" fmla="*/ 1991 h 5401"/>
              <a:gd name="T10" fmla="*/ 2432 w 5127"/>
              <a:gd name="T11" fmla="*/ 2111 h 5401"/>
              <a:gd name="T12" fmla="*/ 3103 w 5127"/>
              <a:gd name="T13" fmla="*/ 2231 h 5401"/>
              <a:gd name="T14" fmla="*/ 3353 w 5127"/>
              <a:gd name="T15" fmla="*/ 2648 h 5401"/>
              <a:gd name="T16" fmla="*/ 2183 w 5127"/>
              <a:gd name="T17" fmla="*/ 2768 h 5401"/>
              <a:gd name="T18" fmla="*/ 3353 w 5127"/>
              <a:gd name="T19" fmla="*/ 2888 h 5401"/>
              <a:gd name="T20" fmla="*/ 2552 w 5127"/>
              <a:gd name="T21" fmla="*/ 3151 h 5401"/>
              <a:gd name="T22" fmla="*/ 2552 w 5127"/>
              <a:gd name="T23" fmla="*/ 3391 h 5401"/>
              <a:gd name="T24" fmla="*/ 3223 w 5127"/>
              <a:gd name="T25" fmla="*/ 3271 h 5401"/>
              <a:gd name="T26" fmla="*/ 2552 w 5127"/>
              <a:gd name="T27" fmla="*/ 3151 h 5401"/>
              <a:gd name="T28" fmla="*/ 4448 w 5127"/>
              <a:gd name="T29" fmla="*/ 1442 h 5401"/>
              <a:gd name="T30" fmla="*/ 4688 w 5127"/>
              <a:gd name="T31" fmla="*/ 1442 h 5401"/>
              <a:gd name="T32" fmla="*/ 3988 w 5127"/>
              <a:gd name="T33" fmla="*/ 0 h 5401"/>
              <a:gd name="T34" fmla="*/ 0 w 5127"/>
              <a:gd name="T35" fmla="*/ 604 h 5401"/>
              <a:gd name="T36" fmla="*/ 120 w 5127"/>
              <a:gd name="T37" fmla="*/ 1792 h 5401"/>
              <a:gd name="T38" fmla="*/ 686 w 5127"/>
              <a:gd name="T39" fmla="*/ 1672 h 5401"/>
              <a:gd name="T40" fmla="*/ 240 w 5127"/>
              <a:gd name="T41" fmla="*/ 1552 h 5401"/>
              <a:gd name="T42" fmla="*/ 604 w 5127"/>
              <a:gd name="T43" fmla="*/ 240 h 5401"/>
              <a:gd name="T44" fmla="*/ 968 w 5127"/>
              <a:gd name="T45" fmla="*/ 4179 h 5401"/>
              <a:gd name="T46" fmla="*/ 3904 w 5127"/>
              <a:gd name="T47" fmla="*/ 4879 h 5401"/>
              <a:gd name="T48" fmla="*/ 3904 w 5127"/>
              <a:gd name="T49" fmla="*/ 4639 h 5401"/>
              <a:gd name="T50" fmla="*/ 1208 w 5127"/>
              <a:gd name="T51" fmla="*/ 4179 h 5401"/>
              <a:gd name="T52" fmla="*/ 1086 w 5127"/>
              <a:gd name="T53" fmla="*/ 240 h 5401"/>
              <a:gd name="T54" fmla="*/ 4448 w 5127"/>
              <a:gd name="T55" fmla="*/ 700 h 5401"/>
              <a:gd name="T56" fmla="*/ 4568 w 5127"/>
              <a:gd name="T57" fmla="*/ 2000 h 5401"/>
              <a:gd name="T58" fmla="*/ 4568 w 5127"/>
              <a:gd name="T59" fmla="*/ 2240 h 5401"/>
              <a:gd name="T60" fmla="*/ 4887 w 5127"/>
              <a:gd name="T61" fmla="*/ 2340 h 5401"/>
              <a:gd name="T62" fmla="*/ 5007 w 5127"/>
              <a:gd name="T63" fmla="*/ 3838 h 5401"/>
              <a:gd name="T64" fmla="*/ 5127 w 5127"/>
              <a:gd name="T65" fmla="*/ 2340 h 5401"/>
              <a:gd name="T66" fmla="*/ 4568 w 5127"/>
              <a:gd name="T67" fmla="*/ 5139 h 5401"/>
              <a:gd name="T68" fmla="*/ 4448 w 5127"/>
              <a:gd name="T69" fmla="*/ 5281 h 5401"/>
              <a:gd name="T70" fmla="*/ 4688 w 5127"/>
              <a:gd name="T71" fmla="*/ 5281 h 5401"/>
              <a:gd name="T72" fmla="*/ 4568 w 5127"/>
              <a:gd name="T73" fmla="*/ 5139 h 5401"/>
              <a:gd name="T74" fmla="*/ 4448 w 5127"/>
              <a:gd name="T75" fmla="*/ 2559 h 5401"/>
              <a:gd name="T76" fmla="*/ 4568 w 5127"/>
              <a:gd name="T77" fmla="*/ 4974 h 5401"/>
              <a:gd name="T78" fmla="*/ 4688 w 5127"/>
              <a:gd name="T79" fmla="*/ 2559 h 54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5127" h="5401">
                <a:moveTo>
                  <a:pt x="3473" y="1608"/>
                </a:moveTo>
                <a:cubicBezTo>
                  <a:pt x="3473" y="1674"/>
                  <a:pt x="3419" y="1728"/>
                  <a:pt x="3353" y="1728"/>
                </a:cubicBezTo>
                <a:lnTo>
                  <a:pt x="2303" y="1728"/>
                </a:lnTo>
                <a:cubicBezTo>
                  <a:pt x="2236" y="1728"/>
                  <a:pt x="2183" y="1674"/>
                  <a:pt x="2183" y="1608"/>
                </a:cubicBezTo>
                <a:cubicBezTo>
                  <a:pt x="2183" y="1542"/>
                  <a:pt x="2236" y="1488"/>
                  <a:pt x="2303" y="1488"/>
                </a:cubicBezTo>
                <a:lnTo>
                  <a:pt x="3353" y="1488"/>
                </a:lnTo>
                <a:cubicBezTo>
                  <a:pt x="3419" y="1488"/>
                  <a:pt x="3473" y="1542"/>
                  <a:pt x="3473" y="1608"/>
                </a:cubicBezTo>
                <a:close/>
                <a:moveTo>
                  <a:pt x="3103" y="2231"/>
                </a:moveTo>
                <a:cubicBezTo>
                  <a:pt x="3170" y="2231"/>
                  <a:pt x="3223" y="2178"/>
                  <a:pt x="3223" y="2111"/>
                </a:cubicBezTo>
                <a:cubicBezTo>
                  <a:pt x="3223" y="2045"/>
                  <a:pt x="3170" y="1991"/>
                  <a:pt x="3103" y="1991"/>
                </a:cubicBezTo>
                <a:lnTo>
                  <a:pt x="2552" y="1991"/>
                </a:lnTo>
                <a:cubicBezTo>
                  <a:pt x="2486" y="1991"/>
                  <a:pt x="2432" y="2045"/>
                  <a:pt x="2432" y="2111"/>
                </a:cubicBezTo>
                <a:cubicBezTo>
                  <a:pt x="2432" y="2178"/>
                  <a:pt x="2486" y="2231"/>
                  <a:pt x="2552" y="2231"/>
                </a:cubicBezTo>
                <a:lnTo>
                  <a:pt x="3103" y="2231"/>
                </a:lnTo>
                <a:close/>
                <a:moveTo>
                  <a:pt x="3473" y="2768"/>
                </a:moveTo>
                <a:cubicBezTo>
                  <a:pt x="3473" y="2701"/>
                  <a:pt x="3419" y="2648"/>
                  <a:pt x="3353" y="2648"/>
                </a:cubicBezTo>
                <a:lnTo>
                  <a:pt x="2303" y="2648"/>
                </a:lnTo>
                <a:cubicBezTo>
                  <a:pt x="2236" y="2648"/>
                  <a:pt x="2183" y="2701"/>
                  <a:pt x="2183" y="2768"/>
                </a:cubicBezTo>
                <a:cubicBezTo>
                  <a:pt x="2183" y="2834"/>
                  <a:pt x="2236" y="2888"/>
                  <a:pt x="2303" y="2888"/>
                </a:cubicBezTo>
                <a:lnTo>
                  <a:pt x="3353" y="2888"/>
                </a:lnTo>
                <a:cubicBezTo>
                  <a:pt x="3419" y="2888"/>
                  <a:pt x="3473" y="2834"/>
                  <a:pt x="3473" y="2768"/>
                </a:cubicBezTo>
                <a:close/>
                <a:moveTo>
                  <a:pt x="2552" y="3151"/>
                </a:moveTo>
                <a:cubicBezTo>
                  <a:pt x="2486" y="3151"/>
                  <a:pt x="2432" y="3205"/>
                  <a:pt x="2432" y="3271"/>
                </a:cubicBezTo>
                <a:cubicBezTo>
                  <a:pt x="2432" y="3338"/>
                  <a:pt x="2486" y="3391"/>
                  <a:pt x="2552" y="3391"/>
                </a:cubicBezTo>
                <a:lnTo>
                  <a:pt x="3103" y="3391"/>
                </a:lnTo>
                <a:cubicBezTo>
                  <a:pt x="3170" y="3391"/>
                  <a:pt x="3223" y="3338"/>
                  <a:pt x="3223" y="3271"/>
                </a:cubicBezTo>
                <a:cubicBezTo>
                  <a:pt x="3223" y="3205"/>
                  <a:pt x="3170" y="3151"/>
                  <a:pt x="3103" y="3151"/>
                </a:cubicBezTo>
                <a:lnTo>
                  <a:pt x="2552" y="3151"/>
                </a:lnTo>
                <a:close/>
                <a:moveTo>
                  <a:pt x="4448" y="700"/>
                </a:moveTo>
                <a:lnTo>
                  <a:pt x="4448" y="1442"/>
                </a:lnTo>
                <a:cubicBezTo>
                  <a:pt x="4448" y="1509"/>
                  <a:pt x="4501" y="1562"/>
                  <a:pt x="4568" y="1562"/>
                </a:cubicBezTo>
                <a:cubicBezTo>
                  <a:pt x="4634" y="1562"/>
                  <a:pt x="4688" y="1509"/>
                  <a:pt x="4688" y="1442"/>
                </a:cubicBezTo>
                <a:lnTo>
                  <a:pt x="4688" y="700"/>
                </a:lnTo>
                <a:cubicBezTo>
                  <a:pt x="4688" y="314"/>
                  <a:pt x="4374" y="0"/>
                  <a:pt x="3988" y="0"/>
                </a:cubicBezTo>
                <a:lnTo>
                  <a:pt x="604" y="0"/>
                </a:lnTo>
                <a:cubicBezTo>
                  <a:pt x="271" y="0"/>
                  <a:pt x="0" y="271"/>
                  <a:pt x="0" y="604"/>
                </a:cubicBezTo>
                <a:lnTo>
                  <a:pt x="0" y="1672"/>
                </a:lnTo>
                <a:cubicBezTo>
                  <a:pt x="0" y="1738"/>
                  <a:pt x="53" y="1792"/>
                  <a:pt x="120" y="1792"/>
                </a:cubicBezTo>
                <a:lnTo>
                  <a:pt x="566" y="1792"/>
                </a:lnTo>
                <a:cubicBezTo>
                  <a:pt x="632" y="1792"/>
                  <a:pt x="686" y="1738"/>
                  <a:pt x="686" y="1672"/>
                </a:cubicBezTo>
                <a:cubicBezTo>
                  <a:pt x="686" y="1606"/>
                  <a:pt x="632" y="1552"/>
                  <a:pt x="566" y="1552"/>
                </a:cubicBezTo>
                <a:lnTo>
                  <a:pt x="240" y="1552"/>
                </a:lnTo>
                <a:lnTo>
                  <a:pt x="240" y="604"/>
                </a:lnTo>
                <a:cubicBezTo>
                  <a:pt x="240" y="403"/>
                  <a:pt x="403" y="240"/>
                  <a:pt x="604" y="240"/>
                </a:cubicBezTo>
                <a:cubicBezTo>
                  <a:pt x="805" y="240"/>
                  <a:pt x="968" y="403"/>
                  <a:pt x="968" y="604"/>
                </a:cubicBezTo>
                <a:lnTo>
                  <a:pt x="968" y="4179"/>
                </a:lnTo>
                <a:cubicBezTo>
                  <a:pt x="968" y="4565"/>
                  <a:pt x="1282" y="4879"/>
                  <a:pt x="1668" y="4879"/>
                </a:cubicBezTo>
                <a:lnTo>
                  <a:pt x="3904" y="4879"/>
                </a:lnTo>
                <a:cubicBezTo>
                  <a:pt x="3970" y="4879"/>
                  <a:pt x="4024" y="4825"/>
                  <a:pt x="4024" y="4759"/>
                </a:cubicBezTo>
                <a:cubicBezTo>
                  <a:pt x="4024" y="4693"/>
                  <a:pt x="3970" y="4639"/>
                  <a:pt x="3904" y="4639"/>
                </a:cubicBezTo>
                <a:lnTo>
                  <a:pt x="1668" y="4639"/>
                </a:lnTo>
                <a:cubicBezTo>
                  <a:pt x="1415" y="4639"/>
                  <a:pt x="1208" y="4433"/>
                  <a:pt x="1208" y="4179"/>
                </a:cubicBezTo>
                <a:lnTo>
                  <a:pt x="1208" y="604"/>
                </a:lnTo>
                <a:cubicBezTo>
                  <a:pt x="1208" y="468"/>
                  <a:pt x="1163" y="341"/>
                  <a:pt x="1086" y="240"/>
                </a:cubicBezTo>
                <a:lnTo>
                  <a:pt x="3988" y="240"/>
                </a:lnTo>
                <a:cubicBezTo>
                  <a:pt x="4241" y="240"/>
                  <a:pt x="4448" y="446"/>
                  <a:pt x="4448" y="700"/>
                </a:cubicBezTo>
                <a:close/>
                <a:moveTo>
                  <a:pt x="4787" y="2000"/>
                </a:moveTo>
                <a:lnTo>
                  <a:pt x="4568" y="2000"/>
                </a:lnTo>
                <a:cubicBezTo>
                  <a:pt x="4501" y="2000"/>
                  <a:pt x="4448" y="2054"/>
                  <a:pt x="4448" y="2120"/>
                </a:cubicBezTo>
                <a:cubicBezTo>
                  <a:pt x="4448" y="2187"/>
                  <a:pt x="4501" y="2240"/>
                  <a:pt x="4568" y="2240"/>
                </a:cubicBezTo>
                <a:lnTo>
                  <a:pt x="4787" y="2240"/>
                </a:lnTo>
                <a:cubicBezTo>
                  <a:pt x="4842" y="2240"/>
                  <a:pt x="4887" y="2285"/>
                  <a:pt x="4887" y="2340"/>
                </a:cubicBezTo>
                <a:lnTo>
                  <a:pt x="4887" y="3718"/>
                </a:lnTo>
                <a:cubicBezTo>
                  <a:pt x="4887" y="3785"/>
                  <a:pt x="4941" y="3838"/>
                  <a:pt x="5007" y="3838"/>
                </a:cubicBezTo>
                <a:cubicBezTo>
                  <a:pt x="5073" y="3838"/>
                  <a:pt x="5127" y="3785"/>
                  <a:pt x="5127" y="3718"/>
                </a:cubicBezTo>
                <a:lnTo>
                  <a:pt x="5127" y="2340"/>
                </a:lnTo>
                <a:cubicBezTo>
                  <a:pt x="5127" y="2153"/>
                  <a:pt x="4975" y="2000"/>
                  <a:pt x="4787" y="2000"/>
                </a:cubicBezTo>
                <a:close/>
                <a:moveTo>
                  <a:pt x="4568" y="5139"/>
                </a:moveTo>
                <a:cubicBezTo>
                  <a:pt x="4501" y="5139"/>
                  <a:pt x="4448" y="5193"/>
                  <a:pt x="4448" y="5259"/>
                </a:cubicBezTo>
                <a:lnTo>
                  <a:pt x="4448" y="5281"/>
                </a:lnTo>
                <a:cubicBezTo>
                  <a:pt x="4448" y="5347"/>
                  <a:pt x="4501" y="5401"/>
                  <a:pt x="4568" y="5401"/>
                </a:cubicBezTo>
                <a:cubicBezTo>
                  <a:pt x="4634" y="5401"/>
                  <a:pt x="4688" y="5347"/>
                  <a:pt x="4688" y="5281"/>
                </a:cubicBezTo>
                <a:lnTo>
                  <a:pt x="4688" y="5259"/>
                </a:lnTo>
                <a:cubicBezTo>
                  <a:pt x="4688" y="5193"/>
                  <a:pt x="4634" y="5139"/>
                  <a:pt x="4568" y="5139"/>
                </a:cubicBezTo>
                <a:close/>
                <a:moveTo>
                  <a:pt x="4568" y="2439"/>
                </a:moveTo>
                <a:cubicBezTo>
                  <a:pt x="4501" y="2439"/>
                  <a:pt x="4448" y="2492"/>
                  <a:pt x="4448" y="2559"/>
                </a:cubicBezTo>
                <a:lnTo>
                  <a:pt x="4448" y="4854"/>
                </a:lnTo>
                <a:cubicBezTo>
                  <a:pt x="4448" y="4920"/>
                  <a:pt x="4501" y="4974"/>
                  <a:pt x="4568" y="4974"/>
                </a:cubicBezTo>
                <a:cubicBezTo>
                  <a:pt x="4634" y="4974"/>
                  <a:pt x="4688" y="4920"/>
                  <a:pt x="4688" y="4854"/>
                </a:cubicBezTo>
                <a:lnTo>
                  <a:pt x="4688" y="2559"/>
                </a:lnTo>
                <a:cubicBezTo>
                  <a:pt x="4688" y="2492"/>
                  <a:pt x="4634" y="2439"/>
                  <a:pt x="4568" y="2439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txBody>
          <a:bodyPr/>
          <a:p>
            <a:endParaRPr lang="zh-CN" altLang="en-US" sz="1350">
              <a:cs typeface="+mn-ea"/>
              <a:sym typeface="+mn-lt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630555" y="1323975"/>
            <a:ext cx="736600" cy="2301240"/>
          </a:xfrm>
          <a:prstGeom prst="rect">
            <a:avLst/>
          </a:prstGeom>
          <a:noFill/>
        </p:spPr>
        <p:txBody>
          <a:bodyPr vert="eaVert" wrap="none" rtlCol="0">
            <a:spAutoFit/>
          </a:bodyPr>
          <a:p>
            <a:pPr algn="l"/>
            <a:r>
              <a:rPr lang="zh-CN" altLang="en-US" sz="3600"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sym typeface="+mn-ea"/>
              </a:rPr>
              <a:t>总 结 归 纳</a:t>
            </a:r>
            <a:endParaRPr lang="zh-CN" altLang="en-US" sz="3600"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sym typeface="+mn-ea"/>
            </a:endParaRPr>
          </a:p>
        </p:txBody>
      </p:sp>
      <p:sp>
        <p:nvSpPr>
          <p:cNvPr id="20" name="立方体 19"/>
          <p:cNvSpPr/>
          <p:nvPr>
            <p:custDataLst>
              <p:tags r:id="rId2"/>
            </p:custDataLst>
          </p:nvPr>
        </p:nvSpPr>
        <p:spPr>
          <a:xfrm>
            <a:off x="1988153" y="1983161"/>
            <a:ext cx="1471067" cy="3526696"/>
          </a:xfrm>
          <a:prstGeom prst="cube">
            <a:avLst>
              <a:gd name="adj" fmla="val 88345"/>
            </a:avLst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  <a:effectLst/>
        </p:spPr>
        <p:style>
          <a:lnRef idx="2">
            <a:srgbClr val="1F74AD">
              <a:shade val="50000"/>
            </a:srgbClr>
          </a:lnRef>
          <a:fillRef idx="1">
            <a:srgbClr val="1F74AD"/>
          </a:fillRef>
          <a:effectRef idx="0">
            <a:srgbClr val="1F74AD"/>
          </a:effectRef>
          <a:fontRef idx="minor">
            <a:sysClr val="window" lastClr="FFFFFF"/>
          </a:fontRef>
        </p:style>
        <p:txBody>
          <a:bodyPr anchor="ctr"/>
          <a:p>
            <a:pPr algn="ctr">
              <a:lnSpc>
                <a:spcPct val="120000"/>
              </a:lnSpc>
            </a:pPr>
            <a:endParaRPr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grpSp>
        <p:nvGrpSpPr>
          <p:cNvPr id="21" name="组合 20"/>
          <p:cNvGrpSpPr/>
          <p:nvPr/>
        </p:nvGrpSpPr>
        <p:grpSpPr>
          <a:xfrm>
            <a:off x="4238625" y="1379220"/>
            <a:ext cx="5832213" cy="416627"/>
            <a:chOff x="8624" y="2158"/>
            <a:chExt cx="9185" cy="656"/>
          </a:xfrm>
        </p:grpSpPr>
        <p:sp>
          <p:nvSpPr>
            <p:cNvPr id="5" name="椭圆 4"/>
            <p:cNvSpPr/>
            <p:nvPr>
              <p:custDataLst>
                <p:tags r:id="rId3"/>
              </p:custDataLst>
            </p:nvPr>
          </p:nvSpPr>
          <p:spPr bwMode="auto">
            <a:xfrm flipH="1">
              <a:off x="8624" y="2355"/>
              <a:ext cx="262" cy="262"/>
            </a:xfrm>
            <a:prstGeom prst="ellipse">
              <a:avLst/>
            </a:prstGeom>
            <a:solidFill>
              <a:schemeClr val="accent2">
                <a:lumMod val="20000"/>
                <a:lumOff val="80000"/>
              </a:schemeClr>
            </a:solidFill>
            <a:ln w="9525">
              <a:noFill/>
              <a:round/>
            </a:ln>
          </p:spPr>
          <p:txBody>
            <a:bodyPr anchor="ctr"/>
            <a:p>
              <a:pPr algn="ctr">
                <a:lnSpc>
                  <a:spcPct val="120000"/>
                </a:lnSpc>
              </a:pPr>
              <a:endParaRPr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endParaRPr>
            </a:p>
          </p:txBody>
        </p:sp>
        <p:sp>
          <p:nvSpPr>
            <p:cNvPr id="18" name="文本框 17"/>
            <p:cNvSpPr txBox="1"/>
            <p:nvPr>
              <p:custDataLst>
                <p:tags r:id="rId4"/>
              </p:custDataLst>
            </p:nvPr>
          </p:nvSpPr>
          <p:spPr bwMode="auto">
            <a:xfrm>
              <a:off x="9063" y="2158"/>
              <a:ext cx="8746" cy="656"/>
            </a:xfrm>
            <a:prstGeom prst="rect">
              <a:avLst/>
            </a:prstGeom>
            <a:noFill/>
          </p:spPr>
          <p:txBody>
            <a:bodyPr wrap="square" lIns="90000" tIns="46800" rIns="90000" bIns="0" anchor="b" anchorCtr="0"/>
            <a:p>
              <a:pPr>
                <a:lnSpc>
                  <a:spcPct val="130000"/>
                </a:lnSpc>
              </a:pPr>
              <a:r>
                <a:rPr lang="zh-CN" altLang="en-US" sz="2400" b="1" spc="300">
                  <a:ln>
                    <a:solidFill>
                      <a:schemeClr val="accent2">
                        <a:lumMod val="20000"/>
                        <a:lumOff val="80000"/>
                      </a:schemeClr>
                    </a:solidFill>
                  </a:ln>
                  <a:solidFill>
                    <a:schemeClr val="accent3">
                      <a:lumMod val="95000"/>
                      <a:lumOff val="5000"/>
                    </a:schemeClr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+mn-ea"/>
                  <a:sym typeface="Arial" panose="020B0604020202020204" pitchFamily="34" charset="0"/>
                </a:rPr>
                <a:t>三种类型</a:t>
              </a:r>
              <a:endParaRPr lang="zh-CN" altLang="en-US" sz="2400" b="1" spc="300">
                <a:ln>
                  <a:solidFill>
                    <a:schemeClr val="accent2">
                      <a:lumMod val="20000"/>
                      <a:lumOff val="80000"/>
                    </a:schemeClr>
                  </a:solidFill>
                </a:ln>
                <a:solidFill>
                  <a:schemeClr val="accent3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+mn-ea"/>
                <a:sym typeface="Arial" panose="020B0604020202020204" pitchFamily="34" charset="0"/>
              </a:endParaRPr>
            </a:p>
          </p:txBody>
        </p:sp>
      </p:grpSp>
      <p:sp>
        <p:nvSpPr>
          <p:cNvPr id="19" name="文本框 18"/>
          <p:cNvSpPr txBox="1"/>
          <p:nvPr>
            <p:custDataLst>
              <p:tags r:id="rId5"/>
            </p:custDataLst>
          </p:nvPr>
        </p:nvSpPr>
        <p:spPr bwMode="auto">
          <a:xfrm>
            <a:off x="4932680" y="1922780"/>
            <a:ext cx="6636385" cy="1362075"/>
          </a:xfrm>
          <a:prstGeom prst="rect">
            <a:avLst/>
          </a:prstGeom>
          <a:noFill/>
        </p:spPr>
        <p:txBody>
          <a:bodyPr wrap="square" lIns="90000" tIns="0" rIns="90000" bIns="46800">
            <a:noAutofit/>
          </a:bodyPr>
          <a:p>
            <a:pPr>
              <a:lnSpc>
                <a:spcPct val="120000"/>
              </a:lnSpc>
            </a:pPr>
            <a:r>
              <a:rPr lang="zh-CN" altLang="en-US" sz="2400" b="1" spc="150">
                <a:latin typeface="宋体" panose="02010600030101010101" pitchFamily="2" charset="-122"/>
                <a:ea typeface="宋体" panose="02010600030101010101" pitchFamily="2" charset="-122"/>
                <a:sym typeface="Arial" panose="020B0604020202020204" pitchFamily="34" charset="0"/>
              </a:rPr>
              <a:t>函数零点个数</a:t>
            </a:r>
            <a:endParaRPr lang="zh-CN" altLang="en-US" sz="2400" b="1" spc="150">
              <a:latin typeface="宋体" panose="02010600030101010101" pitchFamily="2" charset="-122"/>
              <a:ea typeface="宋体" panose="02010600030101010101" pitchFamily="2" charset="-122"/>
              <a:sym typeface="Arial" panose="020B0604020202020204" pitchFamily="34" charset="0"/>
            </a:endParaRPr>
          </a:p>
          <a:p>
            <a:pPr>
              <a:lnSpc>
                <a:spcPct val="120000"/>
              </a:lnSpc>
            </a:pPr>
            <a:r>
              <a:rPr lang="zh-CN" altLang="en-US" sz="2400" b="1" spc="150">
                <a:latin typeface="宋体" panose="02010600030101010101" pitchFamily="2" charset="-122"/>
                <a:ea typeface="宋体" panose="02010600030101010101" pitchFamily="2" charset="-122"/>
                <a:sym typeface="Arial" panose="020B0604020202020204" pitchFamily="34" charset="0"/>
              </a:rPr>
              <a:t>根据零点求参数取值范围</a:t>
            </a:r>
            <a:endParaRPr lang="zh-CN" altLang="en-US" sz="2400" b="1" spc="150">
              <a:latin typeface="宋体" panose="02010600030101010101" pitchFamily="2" charset="-122"/>
              <a:ea typeface="宋体" panose="02010600030101010101" pitchFamily="2" charset="-122"/>
              <a:sym typeface="Arial" panose="020B0604020202020204" pitchFamily="34" charset="0"/>
            </a:endParaRPr>
          </a:p>
          <a:p>
            <a:pPr>
              <a:lnSpc>
                <a:spcPct val="120000"/>
              </a:lnSpc>
            </a:pPr>
            <a:r>
              <a:rPr lang="zh-CN" altLang="en-US" sz="2400" b="1" spc="150">
                <a:latin typeface="宋体" panose="02010600030101010101" pitchFamily="2" charset="-122"/>
                <a:ea typeface="宋体" panose="02010600030101010101" pitchFamily="2" charset="-122"/>
                <a:sym typeface="Arial" panose="020B0604020202020204" pitchFamily="34" charset="0"/>
              </a:rPr>
              <a:t>复合函数的零点</a:t>
            </a:r>
            <a:endParaRPr lang="zh-CN" altLang="en-US" sz="2400" b="1" spc="150">
              <a:latin typeface="宋体" panose="02010600030101010101" pitchFamily="2" charset="-122"/>
              <a:ea typeface="宋体" panose="02010600030101010101" pitchFamily="2" charset="-122"/>
              <a:sym typeface="Arial" panose="020B0604020202020204" pitchFamily="34" charset="0"/>
            </a:endParaRPr>
          </a:p>
        </p:txBody>
      </p:sp>
      <p:grpSp>
        <p:nvGrpSpPr>
          <p:cNvPr id="22" name="组合 21"/>
          <p:cNvGrpSpPr/>
          <p:nvPr/>
        </p:nvGrpSpPr>
        <p:grpSpPr>
          <a:xfrm>
            <a:off x="4238625" y="3284855"/>
            <a:ext cx="5808345" cy="416560"/>
            <a:chOff x="8886" y="3608"/>
            <a:chExt cx="9147" cy="656"/>
          </a:xfrm>
        </p:grpSpPr>
        <p:sp>
          <p:nvSpPr>
            <p:cNvPr id="10" name="椭圆 9"/>
            <p:cNvSpPr/>
            <p:nvPr>
              <p:custDataLst>
                <p:tags r:id="rId6"/>
              </p:custDataLst>
            </p:nvPr>
          </p:nvSpPr>
          <p:spPr bwMode="auto">
            <a:xfrm flipH="1">
              <a:off x="8886" y="3926"/>
              <a:ext cx="262" cy="262"/>
            </a:xfrm>
            <a:prstGeom prst="ellipse">
              <a:avLst/>
            </a:prstGeom>
            <a:solidFill>
              <a:schemeClr val="accent1">
                <a:lumMod val="40000"/>
                <a:lumOff val="60000"/>
              </a:schemeClr>
            </a:solidFill>
            <a:ln w="9525">
              <a:solidFill>
                <a:schemeClr val="accent1">
                  <a:lumMod val="60000"/>
                  <a:lumOff val="40000"/>
                </a:schemeClr>
              </a:solidFill>
              <a:round/>
            </a:ln>
          </p:spPr>
          <p:txBody>
            <a:bodyPr anchor="ctr"/>
            <a:p>
              <a:pPr algn="ctr">
                <a:lnSpc>
                  <a:spcPct val="120000"/>
                </a:lnSpc>
              </a:pPr>
              <a:endParaRPr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endParaRPr>
            </a:p>
          </p:txBody>
        </p:sp>
        <p:sp>
          <p:nvSpPr>
            <p:cNvPr id="16" name="文本框 15"/>
            <p:cNvSpPr txBox="1"/>
            <p:nvPr>
              <p:custDataLst>
                <p:tags r:id="rId7"/>
              </p:custDataLst>
            </p:nvPr>
          </p:nvSpPr>
          <p:spPr bwMode="auto">
            <a:xfrm>
              <a:off x="9287" y="3608"/>
              <a:ext cx="8746" cy="656"/>
            </a:xfrm>
            <a:prstGeom prst="rect">
              <a:avLst/>
            </a:prstGeom>
            <a:noFill/>
          </p:spPr>
          <p:txBody>
            <a:bodyPr wrap="square" lIns="90000" tIns="46800" rIns="90000" bIns="0" anchor="b" anchorCtr="0"/>
            <a:p>
              <a:pPr>
                <a:lnSpc>
                  <a:spcPct val="130000"/>
                </a:lnSpc>
              </a:pPr>
              <a:r>
                <a:rPr lang="zh-CN" altLang="en-US" sz="2400" b="1" spc="300">
                  <a:ln>
                    <a:solidFill>
                      <a:schemeClr val="accent2">
                        <a:lumMod val="20000"/>
                        <a:lumOff val="80000"/>
                      </a:schemeClr>
                    </a:solidFill>
                  </a:ln>
                  <a:solidFill>
                    <a:schemeClr val="accent3">
                      <a:lumMod val="95000"/>
                      <a:lumOff val="5000"/>
                    </a:schemeClr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+mn-ea"/>
                  <a:sym typeface="Arial" panose="020B0604020202020204" pitchFamily="34" charset="0"/>
                </a:rPr>
                <a:t>三种思想</a:t>
              </a:r>
              <a:endParaRPr lang="zh-CN" altLang="en-US" sz="2400" b="1" spc="300">
                <a:ln>
                  <a:solidFill>
                    <a:schemeClr val="accent2">
                      <a:lumMod val="20000"/>
                      <a:lumOff val="80000"/>
                    </a:schemeClr>
                  </a:solidFill>
                </a:ln>
                <a:solidFill>
                  <a:schemeClr val="accent3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+mn-ea"/>
                <a:sym typeface="Arial" panose="020B0604020202020204" pitchFamily="34" charset="0"/>
              </a:endParaRPr>
            </a:p>
          </p:txBody>
        </p:sp>
      </p:grpSp>
      <p:sp>
        <p:nvSpPr>
          <p:cNvPr id="17" name="文本框 16"/>
          <p:cNvSpPr txBox="1"/>
          <p:nvPr>
            <p:custDataLst>
              <p:tags r:id="rId8"/>
            </p:custDataLst>
          </p:nvPr>
        </p:nvSpPr>
        <p:spPr bwMode="auto">
          <a:xfrm>
            <a:off x="4932680" y="3783330"/>
            <a:ext cx="6506210" cy="1628775"/>
          </a:xfrm>
          <a:prstGeom prst="rect">
            <a:avLst/>
          </a:prstGeom>
          <a:noFill/>
        </p:spPr>
        <p:txBody>
          <a:bodyPr wrap="square" lIns="90000" tIns="0" rIns="90000" bIns="46800">
            <a:noAutofit/>
          </a:bodyPr>
          <a:p>
            <a:pPr>
              <a:lnSpc>
                <a:spcPct val="120000"/>
              </a:lnSpc>
            </a:pPr>
            <a:r>
              <a:rPr lang="zh-CN" altLang="en-US" sz="2400" b="1" spc="150">
                <a:latin typeface="宋体" panose="02010600030101010101" pitchFamily="2" charset="-122"/>
                <a:ea typeface="宋体" panose="02010600030101010101" pitchFamily="2" charset="-122"/>
                <a:sym typeface="Arial" panose="020B0604020202020204" pitchFamily="34" charset="0"/>
              </a:rPr>
              <a:t>数形结合</a:t>
            </a:r>
            <a:endParaRPr lang="zh-CN" altLang="en-US" sz="2400" b="1" spc="150">
              <a:latin typeface="宋体" panose="02010600030101010101" pitchFamily="2" charset="-122"/>
              <a:ea typeface="宋体" panose="02010600030101010101" pitchFamily="2" charset="-122"/>
              <a:sym typeface="Arial" panose="020B0604020202020204" pitchFamily="34" charset="0"/>
            </a:endParaRPr>
          </a:p>
          <a:p>
            <a:pPr>
              <a:lnSpc>
                <a:spcPct val="120000"/>
              </a:lnSpc>
            </a:pPr>
            <a:r>
              <a:rPr lang="zh-CN" altLang="en-US" sz="2400" b="1" spc="150">
                <a:latin typeface="宋体" panose="02010600030101010101" pitchFamily="2" charset="-122"/>
                <a:ea typeface="宋体" panose="02010600030101010101" pitchFamily="2" charset="-122"/>
                <a:sym typeface="Arial" panose="020B0604020202020204" pitchFamily="34" charset="0"/>
              </a:rPr>
              <a:t>函数与方程</a:t>
            </a:r>
            <a:endParaRPr lang="zh-CN" altLang="en-US" sz="2400" b="1" spc="150">
              <a:latin typeface="宋体" panose="02010600030101010101" pitchFamily="2" charset="-122"/>
              <a:ea typeface="宋体" panose="02010600030101010101" pitchFamily="2" charset="-122"/>
              <a:sym typeface="Arial" panose="020B0604020202020204" pitchFamily="34" charset="0"/>
            </a:endParaRPr>
          </a:p>
          <a:p>
            <a:pPr>
              <a:lnSpc>
                <a:spcPct val="120000"/>
              </a:lnSpc>
            </a:pPr>
            <a:r>
              <a:rPr lang="zh-CN" altLang="en-US" sz="2400" b="1" spc="150">
                <a:latin typeface="宋体" panose="02010600030101010101" pitchFamily="2" charset="-122"/>
                <a:ea typeface="宋体" panose="02010600030101010101" pitchFamily="2" charset="-122"/>
                <a:sym typeface="Arial" panose="020B0604020202020204" pitchFamily="34" charset="0"/>
              </a:rPr>
              <a:t>转化与化归</a:t>
            </a:r>
            <a:endParaRPr lang="zh-CN" altLang="en-US" sz="2400" b="1" spc="150">
              <a:latin typeface="宋体" panose="02010600030101010101" pitchFamily="2" charset="-122"/>
              <a:ea typeface="宋体" panose="02010600030101010101" pitchFamily="2" charset="-122"/>
              <a:sym typeface="Arial" panose="020B0604020202020204" pitchFamily="34" charset="0"/>
            </a:endParaRPr>
          </a:p>
        </p:txBody>
      </p:sp>
      <p:sp>
        <p:nvSpPr>
          <p:cNvPr id="35" name="立方体 34"/>
          <p:cNvSpPr/>
          <p:nvPr>
            <p:custDataLst>
              <p:tags r:id="rId9"/>
            </p:custDataLst>
          </p:nvPr>
        </p:nvSpPr>
        <p:spPr>
          <a:xfrm>
            <a:off x="2356549" y="2334471"/>
            <a:ext cx="1324389" cy="3175386"/>
          </a:xfrm>
          <a:prstGeom prst="cube">
            <a:avLst>
              <a:gd name="adj" fmla="val 85731"/>
            </a:avLst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accent2">
                <a:lumMod val="40000"/>
                <a:lumOff val="60000"/>
              </a:schemeClr>
            </a:solidFill>
          </a:ln>
          <a:effectLst/>
        </p:spPr>
        <p:style>
          <a:lnRef idx="2">
            <a:srgbClr val="1F74AD">
              <a:shade val="50000"/>
            </a:srgbClr>
          </a:lnRef>
          <a:fillRef idx="1">
            <a:srgbClr val="1F74AD"/>
          </a:fillRef>
          <a:effectRef idx="0">
            <a:srgbClr val="1F74AD"/>
          </a:effectRef>
          <a:fontRef idx="minor">
            <a:sysClr val="window" lastClr="FFFFFF"/>
          </a:fontRef>
        </p:style>
        <p:txBody>
          <a:bodyPr anchor="ctr"/>
          <a:p>
            <a:pPr algn="ctr">
              <a:lnSpc>
                <a:spcPct val="120000"/>
              </a:lnSpc>
            </a:pPr>
            <a:endParaRPr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sp>
        <p:nvSpPr>
          <p:cNvPr id="36" name="立方体 35"/>
          <p:cNvSpPr/>
          <p:nvPr>
            <p:custDataLst>
              <p:tags r:id="rId10"/>
            </p:custDataLst>
          </p:nvPr>
        </p:nvSpPr>
        <p:spPr>
          <a:xfrm>
            <a:off x="2779965" y="2878251"/>
            <a:ext cx="1097576" cy="2631606"/>
          </a:xfrm>
          <a:prstGeom prst="cube">
            <a:avLst>
              <a:gd name="adj" fmla="val 85731"/>
            </a:avLst>
          </a:prstGeom>
          <a:solidFill>
            <a:schemeClr val="accent2">
              <a:lumMod val="75000"/>
            </a:schemeClr>
          </a:solidFill>
          <a:ln>
            <a:noFill/>
          </a:ln>
          <a:effectLst/>
        </p:spPr>
        <p:style>
          <a:lnRef idx="2">
            <a:srgbClr val="1F74AD">
              <a:shade val="50000"/>
            </a:srgbClr>
          </a:lnRef>
          <a:fillRef idx="1">
            <a:srgbClr val="1F74AD"/>
          </a:fillRef>
          <a:effectRef idx="0">
            <a:srgbClr val="1F74AD"/>
          </a:effectRef>
          <a:fontRef idx="minor">
            <a:sysClr val="window" lastClr="FFFFFF"/>
          </a:fontRef>
        </p:style>
        <p:txBody>
          <a:bodyPr anchor="ctr"/>
          <a:p>
            <a:pPr algn="ctr">
              <a:lnSpc>
                <a:spcPct val="120000"/>
              </a:lnSpc>
            </a:pPr>
            <a:endParaRPr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2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20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2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2000"/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2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2000"/>
                                        <p:tgtEl>
                                          <p:spTgt spid="1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2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2000"/>
                                        <p:tgtEl>
                                          <p:spTgt spid="1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2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" dur="20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2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2" dur="2000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2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7" dur="2000"/>
                                        <p:tgtEl>
                                          <p:spTgt spid="1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2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2" dur="2000"/>
                                        <p:tgtEl>
                                          <p:spTgt spid="1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192" y="85844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9" name="think-cell Slide" r:id="rId2" imgW="9525" imgH="9525" progId="TCLayout.ActiveDocument.1">
                  <p:embed/>
                </p:oleObj>
              </mc:Choice>
              <mc:Fallback>
                <p:oleObj name="think-cell Slide" r:id="rId2" imgW="9525" imgH="9525" progId="TCLayout.ActiveDocument.1">
                  <p:embed/>
                  <p:pic>
                    <p:nvPicPr>
                      <p:cNvPr id="0" name="对象 2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25192" y="85844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/>
          <p:cNvSpPr/>
          <p:nvPr>
            <p:custDataLst>
              <p:tags r:id="rId4"/>
            </p:custDataLst>
          </p:nvPr>
        </p:nvSpPr>
        <p:spPr>
          <a:xfrm>
            <a:off x="1524000" y="857250"/>
            <a:ext cx="119063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</a:pPr>
            <a:endParaRPr lang="en-US" altLang="zh-CN" b="1" u="none" dirty="0">
              <a:solidFill>
                <a:srgbClr val="000000"/>
              </a:solidFill>
              <a:latin typeface="宋体" panose="02010600030101010101" pitchFamily="2" charset="-122"/>
              <a:ea typeface="宋体" panose="02010600030101010101" pitchFamily="2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标题 4"/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pPr fontAlgn="auto">
              <a:lnSpc>
                <a:spcPct val="150000"/>
              </a:lnSpc>
            </a:pPr>
            <a:r>
              <a:rPr lang="zh-CN" altLang="en-US" sz="4400" dirty="0"/>
              <a:t>谢谢！</a:t>
            </a:r>
            <a:br>
              <a:rPr lang="zh-CN" altLang="en-US" sz="4400" dirty="0"/>
            </a:br>
            <a:r>
              <a:rPr lang="zh-CN" altLang="en-US" sz="4400" dirty="0"/>
              <a:t>再见！</a:t>
            </a:r>
            <a:endParaRPr lang="zh-CN" altLang="en-US" sz="4400" dirty="0"/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2b751056-6b97-492c-b763-340acee7e99d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 rot="0">
            <a:off x="581025" y="690880"/>
            <a:ext cx="11212195" cy="918845"/>
            <a:chOff x="1175743" y="1780800"/>
            <a:chExt cx="10444957" cy="677897"/>
          </a:xfrm>
        </p:grpSpPr>
        <p:sp>
          <p:nvSpPr>
            <p:cNvPr id="7" name="iṡľïḑè"/>
            <p:cNvSpPr txBox="1"/>
            <p:nvPr/>
          </p:nvSpPr>
          <p:spPr bwMode="auto">
            <a:xfrm>
              <a:off x="2567063" y="1792616"/>
              <a:ext cx="9053637" cy="666081"/>
            </a:xfrm>
            <a:prstGeom prst="rect">
              <a:avLst/>
            </a:prstGeom>
            <a:noFill/>
          </p:spPr>
          <p:txBody>
            <a:bodyPr wrap="square" tIns="0" anchor="t">
              <a:noAutofit/>
            </a:bodyPr>
            <a:lstStyle>
              <a:defPPr>
                <a:defRPr lang="zh-CN"/>
              </a:defPPr>
              <a:lvl1pPr>
                <a:defRPr sz="1600" b="1">
                  <a:latin typeface="Arial" panose="020B0604020202020204" pitchFamily="34" charset="0"/>
                  <a:ea typeface="微软雅黑" panose="020B0503020204020204" pitchFamily="34" charset="-122"/>
                  <a:cs typeface="+mn-ea"/>
                </a:defRPr>
              </a:lvl1pPr>
              <a:lvl2pPr marL="742950" indent="-285750">
                <a:defRPr sz="3200" b="1">
                  <a:solidFill>
                    <a:srgbClr val="4D4D4D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2pPr>
              <a:lvl3pPr marL="1143000" indent="-228600">
                <a:defRPr sz="3200" b="1">
                  <a:solidFill>
                    <a:srgbClr val="4D4D4D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3pPr>
              <a:lvl4pPr marL="1600200" indent="-228600">
                <a:defRPr sz="3200" b="1">
                  <a:solidFill>
                    <a:srgbClr val="4D4D4D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4pPr>
              <a:lvl5pPr marL="2057400" indent="-228600">
                <a:defRPr sz="3200" b="1">
                  <a:solidFill>
                    <a:srgbClr val="4D4D4D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 b="1">
                  <a:solidFill>
                    <a:srgbClr val="4D4D4D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 b="1">
                  <a:solidFill>
                    <a:srgbClr val="4D4D4D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 b="1">
                  <a:solidFill>
                    <a:srgbClr val="4D4D4D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 b="1">
                  <a:solidFill>
                    <a:srgbClr val="4D4D4D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9pPr>
            </a:lstStyle>
            <a:p>
              <a:pPr marL="342900" indent="-342900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Font typeface="+mj-lt"/>
                <a:buAutoNum type="arabicPeriod"/>
              </a:pPr>
              <a:endParaRPr lang="zh-CN" altLang="en-US" sz="1800" u="none" dirty="0">
                <a:solidFill>
                  <a:srgbClr val="000000"/>
                </a:solidFill>
                <a:latin typeface="宋体" panose="02010600030101010101" pitchFamily="2" charset="-122"/>
                <a:ea typeface="宋体" panose="02010600030101010101" pitchFamily="2" charset="-122"/>
                <a:sym typeface="+mn-lt"/>
              </a:endParaRPr>
            </a:p>
            <a:p>
              <a:pPr indent="0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Font typeface="+mj-lt"/>
                <a:buNone/>
              </a:pPr>
              <a:r>
                <a:rPr lang="zh-CN" altLang="en-US" sz="2800" u="none">
                  <a:latin typeface="+mj-lt"/>
                  <a:ea typeface="+mj-ea"/>
                  <a:cs typeface="+mj-cs"/>
                  <a:sym typeface="+mn-lt"/>
                </a:rPr>
                <a:t>零点的概念</a:t>
              </a:r>
              <a:r>
                <a:rPr lang="zh-CN" altLang="en-US" sz="2800" u="none" dirty="0">
                  <a:solidFill>
                    <a:srgbClr val="000000"/>
                  </a:solidFill>
                  <a:latin typeface="宋体" panose="02010600030101010101" pitchFamily="2" charset="-122"/>
                  <a:ea typeface="宋体" panose="02010600030101010101" pitchFamily="2" charset="-122"/>
                  <a:sym typeface="+mn-lt"/>
                </a:rPr>
                <a:t>：</a:t>
              </a:r>
              <a:endParaRPr lang="zh-CN" altLang="en-US" sz="2800" u="none" dirty="0">
                <a:solidFill>
                  <a:srgbClr val="00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+mj-cs"/>
                <a:sym typeface="+mn-lt"/>
              </a:endParaRPr>
            </a:p>
          </p:txBody>
        </p:sp>
        <p:sp>
          <p:nvSpPr>
            <p:cNvPr id="9" name="išľïḋé"/>
            <p:cNvSpPr txBox="1"/>
            <p:nvPr/>
          </p:nvSpPr>
          <p:spPr>
            <a:xfrm>
              <a:off x="1175743" y="1780800"/>
              <a:ext cx="2057230" cy="250600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</a:pPr>
              <a:endParaRPr lang="tr-TR" b="1" u="none" dirty="0">
                <a:solidFill>
                  <a:srgbClr val="00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+mn-ea"/>
                <a:sym typeface="+mn-lt"/>
              </a:endParaRPr>
            </a:p>
          </p:txBody>
        </p:sp>
      </p:grpSp>
      <p:sp>
        <p:nvSpPr>
          <p:cNvPr id="3" name="圆角矩形标注 2"/>
          <p:cNvSpPr/>
          <p:nvPr/>
        </p:nvSpPr>
        <p:spPr>
          <a:xfrm>
            <a:off x="2789555" y="5039995"/>
            <a:ext cx="8155305" cy="1418590"/>
          </a:xfrm>
          <a:prstGeom prst="wedgeRoundRectCallout">
            <a:avLst>
              <a:gd name="adj1" fmla="val 22265"/>
              <a:gd name="adj2" fmla="val -86526"/>
              <a:gd name="adj3" fmla="val 16667"/>
            </a:avLst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4" name="文本框 3"/>
          <p:cNvSpPr txBox="1"/>
          <p:nvPr/>
        </p:nvSpPr>
        <p:spPr>
          <a:xfrm>
            <a:off x="2074545" y="2743200"/>
            <a:ext cx="9096375" cy="52197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 sz="2800" b="1">
                <a:latin typeface="+mj-lt"/>
                <a:ea typeface="+mj-ea"/>
                <a:cs typeface="+mj-cs"/>
                <a:sym typeface="+mn-lt"/>
              </a:rPr>
              <a:t>三个等价关系：</a:t>
            </a:r>
            <a:endParaRPr lang="zh-CN" altLang="en-US" sz="2800" b="1">
              <a:latin typeface="+mj-lt"/>
              <a:ea typeface="+mj-ea"/>
              <a:cs typeface="+mj-cs"/>
              <a:sym typeface="+mn-lt"/>
            </a:endParaRP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74545" y="3352800"/>
            <a:ext cx="9124950" cy="1104900"/>
          </a:xfrm>
          <a:prstGeom prst="rect">
            <a:avLst/>
          </a:prstGeom>
        </p:spPr>
      </p:pic>
      <p:cxnSp>
        <p:nvCxnSpPr>
          <p:cNvPr id="11" name="直接连接符 10"/>
          <p:cNvCxnSpPr/>
          <p:nvPr/>
        </p:nvCxnSpPr>
        <p:spPr>
          <a:xfrm flipH="1">
            <a:off x="1907015" y="690880"/>
            <a:ext cx="9610" cy="5430515"/>
          </a:xfrm>
          <a:prstGeom prst="line">
            <a:avLst/>
          </a:prstGeom>
          <a:solidFill>
            <a:srgbClr val="FFCC00"/>
          </a:solidFill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2" name="poetry_91022"/>
          <p:cNvSpPr>
            <a:spLocks noChangeAspect="1"/>
          </p:cNvSpPr>
          <p:nvPr/>
        </p:nvSpPr>
        <p:spPr bwMode="auto">
          <a:xfrm>
            <a:off x="492760" y="5129001"/>
            <a:ext cx="898119" cy="1241320"/>
          </a:xfrm>
          <a:custGeom>
            <a:avLst/>
            <a:gdLst>
              <a:gd name="T0" fmla="*/ 3353 w 5127"/>
              <a:gd name="T1" fmla="*/ 1728 h 5401"/>
              <a:gd name="T2" fmla="*/ 2183 w 5127"/>
              <a:gd name="T3" fmla="*/ 1608 h 5401"/>
              <a:gd name="T4" fmla="*/ 3353 w 5127"/>
              <a:gd name="T5" fmla="*/ 1488 h 5401"/>
              <a:gd name="T6" fmla="*/ 3103 w 5127"/>
              <a:gd name="T7" fmla="*/ 2231 h 5401"/>
              <a:gd name="T8" fmla="*/ 3103 w 5127"/>
              <a:gd name="T9" fmla="*/ 1991 h 5401"/>
              <a:gd name="T10" fmla="*/ 2432 w 5127"/>
              <a:gd name="T11" fmla="*/ 2111 h 5401"/>
              <a:gd name="T12" fmla="*/ 3103 w 5127"/>
              <a:gd name="T13" fmla="*/ 2231 h 5401"/>
              <a:gd name="T14" fmla="*/ 3353 w 5127"/>
              <a:gd name="T15" fmla="*/ 2648 h 5401"/>
              <a:gd name="T16" fmla="*/ 2183 w 5127"/>
              <a:gd name="T17" fmla="*/ 2768 h 5401"/>
              <a:gd name="T18" fmla="*/ 3353 w 5127"/>
              <a:gd name="T19" fmla="*/ 2888 h 5401"/>
              <a:gd name="T20" fmla="*/ 2552 w 5127"/>
              <a:gd name="T21" fmla="*/ 3151 h 5401"/>
              <a:gd name="T22" fmla="*/ 2552 w 5127"/>
              <a:gd name="T23" fmla="*/ 3391 h 5401"/>
              <a:gd name="T24" fmla="*/ 3223 w 5127"/>
              <a:gd name="T25" fmla="*/ 3271 h 5401"/>
              <a:gd name="T26" fmla="*/ 2552 w 5127"/>
              <a:gd name="T27" fmla="*/ 3151 h 5401"/>
              <a:gd name="T28" fmla="*/ 4448 w 5127"/>
              <a:gd name="T29" fmla="*/ 1442 h 5401"/>
              <a:gd name="T30" fmla="*/ 4688 w 5127"/>
              <a:gd name="T31" fmla="*/ 1442 h 5401"/>
              <a:gd name="T32" fmla="*/ 3988 w 5127"/>
              <a:gd name="T33" fmla="*/ 0 h 5401"/>
              <a:gd name="T34" fmla="*/ 0 w 5127"/>
              <a:gd name="T35" fmla="*/ 604 h 5401"/>
              <a:gd name="T36" fmla="*/ 120 w 5127"/>
              <a:gd name="T37" fmla="*/ 1792 h 5401"/>
              <a:gd name="T38" fmla="*/ 686 w 5127"/>
              <a:gd name="T39" fmla="*/ 1672 h 5401"/>
              <a:gd name="T40" fmla="*/ 240 w 5127"/>
              <a:gd name="T41" fmla="*/ 1552 h 5401"/>
              <a:gd name="T42" fmla="*/ 604 w 5127"/>
              <a:gd name="T43" fmla="*/ 240 h 5401"/>
              <a:gd name="T44" fmla="*/ 968 w 5127"/>
              <a:gd name="T45" fmla="*/ 4179 h 5401"/>
              <a:gd name="T46" fmla="*/ 3904 w 5127"/>
              <a:gd name="T47" fmla="*/ 4879 h 5401"/>
              <a:gd name="T48" fmla="*/ 3904 w 5127"/>
              <a:gd name="T49" fmla="*/ 4639 h 5401"/>
              <a:gd name="T50" fmla="*/ 1208 w 5127"/>
              <a:gd name="T51" fmla="*/ 4179 h 5401"/>
              <a:gd name="T52" fmla="*/ 1086 w 5127"/>
              <a:gd name="T53" fmla="*/ 240 h 5401"/>
              <a:gd name="T54" fmla="*/ 4448 w 5127"/>
              <a:gd name="T55" fmla="*/ 700 h 5401"/>
              <a:gd name="T56" fmla="*/ 4568 w 5127"/>
              <a:gd name="T57" fmla="*/ 2000 h 5401"/>
              <a:gd name="T58" fmla="*/ 4568 w 5127"/>
              <a:gd name="T59" fmla="*/ 2240 h 5401"/>
              <a:gd name="T60" fmla="*/ 4887 w 5127"/>
              <a:gd name="T61" fmla="*/ 2340 h 5401"/>
              <a:gd name="T62" fmla="*/ 5007 w 5127"/>
              <a:gd name="T63" fmla="*/ 3838 h 5401"/>
              <a:gd name="T64" fmla="*/ 5127 w 5127"/>
              <a:gd name="T65" fmla="*/ 2340 h 5401"/>
              <a:gd name="T66" fmla="*/ 4568 w 5127"/>
              <a:gd name="T67" fmla="*/ 5139 h 5401"/>
              <a:gd name="T68" fmla="*/ 4448 w 5127"/>
              <a:gd name="T69" fmla="*/ 5281 h 5401"/>
              <a:gd name="T70" fmla="*/ 4688 w 5127"/>
              <a:gd name="T71" fmla="*/ 5281 h 5401"/>
              <a:gd name="T72" fmla="*/ 4568 w 5127"/>
              <a:gd name="T73" fmla="*/ 5139 h 5401"/>
              <a:gd name="T74" fmla="*/ 4448 w 5127"/>
              <a:gd name="T75" fmla="*/ 2559 h 5401"/>
              <a:gd name="T76" fmla="*/ 4568 w 5127"/>
              <a:gd name="T77" fmla="*/ 4974 h 5401"/>
              <a:gd name="T78" fmla="*/ 4688 w 5127"/>
              <a:gd name="T79" fmla="*/ 2559 h 54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5127" h="5401">
                <a:moveTo>
                  <a:pt x="3473" y="1608"/>
                </a:moveTo>
                <a:cubicBezTo>
                  <a:pt x="3473" y="1674"/>
                  <a:pt x="3419" y="1728"/>
                  <a:pt x="3353" y="1728"/>
                </a:cubicBezTo>
                <a:lnTo>
                  <a:pt x="2303" y="1728"/>
                </a:lnTo>
                <a:cubicBezTo>
                  <a:pt x="2236" y="1728"/>
                  <a:pt x="2183" y="1674"/>
                  <a:pt x="2183" y="1608"/>
                </a:cubicBezTo>
                <a:cubicBezTo>
                  <a:pt x="2183" y="1542"/>
                  <a:pt x="2236" y="1488"/>
                  <a:pt x="2303" y="1488"/>
                </a:cubicBezTo>
                <a:lnTo>
                  <a:pt x="3353" y="1488"/>
                </a:lnTo>
                <a:cubicBezTo>
                  <a:pt x="3419" y="1488"/>
                  <a:pt x="3473" y="1542"/>
                  <a:pt x="3473" y="1608"/>
                </a:cubicBezTo>
                <a:close/>
                <a:moveTo>
                  <a:pt x="3103" y="2231"/>
                </a:moveTo>
                <a:cubicBezTo>
                  <a:pt x="3170" y="2231"/>
                  <a:pt x="3223" y="2178"/>
                  <a:pt x="3223" y="2111"/>
                </a:cubicBezTo>
                <a:cubicBezTo>
                  <a:pt x="3223" y="2045"/>
                  <a:pt x="3170" y="1991"/>
                  <a:pt x="3103" y="1991"/>
                </a:cubicBezTo>
                <a:lnTo>
                  <a:pt x="2552" y="1991"/>
                </a:lnTo>
                <a:cubicBezTo>
                  <a:pt x="2486" y="1991"/>
                  <a:pt x="2432" y="2045"/>
                  <a:pt x="2432" y="2111"/>
                </a:cubicBezTo>
                <a:cubicBezTo>
                  <a:pt x="2432" y="2178"/>
                  <a:pt x="2486" y="2231"/>
                  <a:pt x="2552" y="2231"/>
                </a:cubicBezTo>
                <a:lnTo>
                  <a:pt x="3103" y="2231"/>
                </a:lnTo>
                <a:close/>
                <a:moveTo>
                  <a:pt x="3473" y="2768"/>
                </a:moveTo>
                <a:cubicBezTo>
                  <a:pt x="3473" y="2701"/>
                  <a:pt x="3419" y="2648"/>
                  <a:pt x="3353" y="2648"/>
                </a:cubicBezTo>
                <a:lnTo>
                  <a:pt x="2303" y="2648"/>
                </a:lnTo>
                <a:cubicBezTo>
                  <a:pt x="2236" y="2648"/>
                  <a:pt x="2183" y="2701"/>
                  <a:pt x="2183" y="2768"/>
                </a:cubicBezTo>
                <a:cubicBezTo>
                  <a:pt x="2183" y="2834"/>
                  <a:pt x="2236" y="2888"/>
                  <a:pt x="2303" y="2888"/>
                </a:cubicBezTo>
                <a:lnTo>
                  <a:pt x="3353" y="2888"/>
                </a:lnTo>
                <a:cubicBezTo>
                  <a:pt x="3419" y="2888"/>
                  <a:pt x="3473" y="2834"/>
                  <a:pt x="3473" y="2768"/>
                </a:cubicBezTo>
                <a:close/>
                <a:moveTo>
                  <a:pt x="2552" y="3151"/>
                </a:moveTo>
                <a:cubicBezTo>
                  <a:pt x="2486" y="3151"/>
                  <a:pt x="2432" y="3205"/>
                  <a:pt x="2432" y="3271"/>
                </a:cubicBezTo>
                <a:cubicBezTo>
                  <a:pt x="2432" y="3338"/>
                  <a:pt x="2486" y="3391"/>
                  <a:pt x="2552" y="3391"/>
                </a:cubicBezTo>
                <a:lnTo>
                  <a:pt x="3103" y="3391"/>
                </a:lnTo>
                <a:cubicBezTo>
                  <a:pt x="3170" y="3391"/>
                  <a:pt x="3223" y="3338"/>
                  <a:pt x="3223" y="3271"/>
                </a:cubicBezTo>
                <a:cubicBezTo>
                  <a:pt x="3223" y="3205"/>
                  <a:pt x="3170" y="3151"/>
                  <a:pt x="3103" y="3151"/>
                </a:cubicBezTo>
                <a:lnTo>
                  <a:pt x="2552" y="3151"/>
                </a:lnTo>
                <a:close/>
                <a:moveTo>
                  <a:pt x="4448" y="700"/>
                </a:moveTo>
                <a:lnTo>
                  <a:pt x="4448" y="1442"/>
                </a:lnTo>
                <a:cubicBezTo>
                  <a:pt x="4448" y="1509"/>
                  <a:pt x="4501" y="1562"/>
                  <a:pt x="4568" y="1562"/>
                </a:cubicBezTo>
                <a:cubicBezTo>
                  <a:pt x="4634" y="1562"/>
                  <a:pt x="4688" y="1509"/>
                  <a:pt x="4688" y="1442"/>
                </a:cubicBezTo>
                <a:lnTo>
                  <a:pt x="4688" y="700"/>
                </a:lnTo>
                <a:cubicBezTo>
                  <a:pt x="4688" y="314"/>
                  <a:pt x="4374" y="0"/>
                  <a:pt x="3988" y="0"/>
                </a:cubicBezTo>
                <a:lnTo>
                  <a:pt x="604" y="0"/>
                </a:lnTo>
                <a:cubicBezTo>
                  <a:pt x="271" y="0"/>
                  <a:pt x="0" y="271"/>
                  <a:pt x="0" y="604"/>
                </a:cubicBezTo>
                <a:lnTo>
                  <a:pt x="0" y="1672"/>
                </a:lnTo>
                <a:cubicBezTo>
                  <a:pt x="0" y="1738"/>
                  <a:pt x="53" y="1792"/>
                  <a:pt x="120" y="1792"/>
                </a:cubicBezTo>
                <a:lnTo>
                  <a:pt x="566" y="1792"/>
                </a:lnTo>
                <a:cubicBezTo>
                  <a:pt x="632" y="1792"/>
                  <a:pt x="686" y="1738"/>
                  <a:pt x="686" y="1672"/>
                </a:cubicBezTo>
                <a:cubicBezTo>
                  <a:pt x="686" y="1606"/>
                  <a:pt x="632" y="1552"/>
                  <a:pt x="566" y="1552"/>
                </a:cubicBezTo>
                <a:lnTo>
                  <a:pt x="240" y="1552"/>
                </a:lnTo>
                <a:lnTo>
                  <a:pt x="240" y="604"/>
                </a:lnTo>
                <a:cubicBezTo>
                  <a:pt x="240" y="403"/>
                  <a:pt x="403" y="240"/>
                  <a:pt x="604" y="240"/>
                </a:cubicBezTo>
                <a:cubicBezTo>
                  <a:pt x="805" y="240"/>
                  <a:pt x="968" y="403"/>
                  <a:pt x="968" y="604"/>
                </a:cubicBezTo>
                <a:lnTo>
                  <a:pt x="968" y="4179"/>
                </a:lnTo>
                <a:cubicBezTo>
                  <a:pt x="968" y="4565"/>
                  <a:pt x="1282" y="4879"/>
                  <a:pt x="1668" y="4879"/>
                </a:cubicBezTo>
                <a:lnTo>
                  <a:pt x="3904" y="4879"/>
                </a:lnTo>
                <a:cubicBezTo>
                  <a:pt x="3970" y="4879"/>
                  <a:pt x="4024" y="4825"/>
                  <a:pt x="4024" y="4759"/>
                </a:cubicBezTo>
                <a:cubicBezTo>
                  <a:pt x="4024" y="4693"/>
                  <a:pt x="3970" y="4639"/>
                  <a:pt x="3904" y="4639"/>
                </a:cubicBezTo>
                <a:lnTo>
                  <a:pt x="1668" y="4639"/>
                </a:lnTo>
                <a:cubicBezTo>
                  <a:pt x="1415" y="4639"/>
                  <a:pt x="1208" y="4433"/>
                  <a:pt x="1208" y="4179"/>
                </a:cubicBezTo>
                <a:lnTo>
                  <a:pt x="1208" y="604"/>
                </a:lnTo>
                <a:cubicBezTo>
                  <a:pt x="1208" y="468"/>
                  <a:pt x="1163" y="341"/>
                  <a:pt x="1086" y="240"/>
                </a:cubicBezTo>
                <a:lnTo>
                  <a:pt x="3988" y="240"/>
                </a:lnTo>
                <a:cubicBezTo>
                  <a:pt x="4241" y="240"/>
                  <a:pt x="4448" y="446"/>
                  <a:pt x="4448" y="700"/>
                </a:cubicBezTo>
                <a:close/>
                <a:moveTo>
                  <a:pt x="4787" y="2000"/>
                </a:moveTo>
                <a:lnTo>
                  <a:pt x="4568" y="2000"/>
                </a:lnTo>
                <a:cubicBezTo>
                  <a:pt x="4501" y="2000"/>
                  <a:pt x="4448" y="2054"/>
                  <a:pt x="4448" y="2120"/>
                </a:cubicBezTo>
                <a:cubicBezTo>
                  <a:pt x="4448" y="2187"/>
                  <a:pt x="4501" y="2240"/>
                  <a:pt x="4568" y="2240"/>
                </a:cubicBezTo>
                <a:lnTo>
                  <a:pt x="4787" y="2240"/>
                </a:lnTo>
                <a:cubicBezTo>
                  <a:pt x="4842" y="2240"/>
                  <a:pt x="4887" y="2285"/>
                  <a:pt x="4887" y="2340"/>
                </a:cubicBezTo>
                <a:lnTo>
                  <a:pt x="4887" y="3718"/>
                </a:lnTo>
                <a:cubicBezTo>
                  <a:pt x="4887" y="3785"/>
                  <a:pt x="4941" y="3838"/>
                  <a:pt x="5007" y="3838"/>
                </a:cubicBezTo>
                <a:cubicBezTo>
                  <a:pt x="5073" y="3838"/>
                  <a:pt x="5127" y="3785"/>
                  <a:pt x="5127" y="3718"/>
                </a:cubicBezTo>
                <a:lnTo>
                  <a:pt x="5127" y="2340"/>
                </a:lnTo>
                <a:cubicBezTo>
                  <a:pt x="5127" y="2153"/>
                  <a:pt x="4975" y="2000"/>
                  <a:pt x="4787" y="2000"/>
                </a:cubicBezTo>
                <a:close/>
                <a:moveTo>
                  <a:pt x="4568" y="5139"/>
                </a:moveTo>
                <a:cubicBezTo>
                  <a:pt x="4501" y="5139"/>
                  <a:pt x="4448" y="5193"/>
                  <a:pt x="4448" y="5259"/>
                </a:cubicBezTo>
                <a:lnTo>
                  <a:pt x="4448" y="5281"/>
                </a:lnTo>
                <a:cubicBezTo>
                  <a:pt x="4448" y="5347"/>
                  <a:pt x="4501" y="5401"/>
                  <a:pt x="4568" y="5401"/>
                </a:cubicBezTo>
                <a:cubicBezTo>
                  <a:pt x="4634" y="5401"/>
                  <a:pt x="4688" y="5347"/>
                  <a:pt x="4688" y="5281"/>
                </a:cubicBezTo>
                <a:lnTo>
                  <a:pt x="4688" y="5259"/>
                </a:lnTo>
                <a:cubicBezTo>
                  <a:pt x="4688" y="5193"/>
                  <a:pt x="4634" y="5139"/>
                  <a:pt x="4568" y="5139"/>
                </a:cubicBezTo>
                <a:close/>
                <a:moveTo>
                  <a:pt x="4568" y="2439"/>
                </a:moveTo>
                <a:cubicBezTo>
                  <a:pt x="4501" y="2439"/>
                  <a:pt x="4448" y="2492"/>
                  <a:pt x="4448" y="2559"/>
                </a:cubicBezTo>
                <a:lnTo>
                  <a:pt x="4448" y="4854"/>
                </a:lnTo>
                <a:cubicBezTo>
                  <a:pt x="4448" y="4920"/>
                  <a:pt x="4501" y="4974"/>
                  <a:pt x="4568" y="4974"/>
                </a:cubicBezTo>
                <a:cubicBezTo>
                  <a:pt x="4634" y="4974"/>
                  <a:pt x="4688" y="4920"/>
                  <a:pt x="4688" y="4854"/>
                </a:cubicBezTo>
                <a:lnTo>
                  <a:pt x="4688" y="2559"/>
                </a:lnTo>
                <a:cubicBezTo>
                  <a:pt x="4688" y="2492"/>
                  <a:pt x="4634" y="2439"/>
                  <a:pt x="4568" y="2439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txBody>
          <a:bodyPr/>
          <a:p>
            <a:endParaRPr lang="zh-CN" altLang="en-US" sz="1350">
              <a:cs typeface="+mn-ea"/>
              <a:sym typeface="+mn-lt"/>
            </a:endParaRPr>
          </a:p>
        </p:txBody>
      </p:sp>
      <p:pic>
        <p:nvPicPr>
          <p:cNvPr id="14" name="图片 1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74545" y="1543050"/>
            <a:ext cx="9858375" cy="1085850"/>
          </a:xfrm>
          <a:prstGeom prst="rect">
            <a:avLst/>
          </a:prstGeom>
        </p:spPr>
      </p:pic>
      <p:sp>
        <p:nvSpPr>
          <p:cNvPr id="15" name="文本框 14"/>
          <p:cNvSpPr txBox="1"/>
          <p:nvPr/>
        </p:nvSpPr>
        <p:spPr>
          <a:xfrm>
            <a:off x="630555" y="1323975"/>
            <a:ext cx="736600" cy="2301240"/>
          </a:xfrm>
          <a:prstGeom prst="rect">
            <a:avLst/>
          </a:prstGeom>
          <a:noFill/>
        </p:spPr>
        <p:txBody>
          <a:bodyPr vert="eaVert" wrap="none" rtlCol="0">
            <a:spAutoFit/>
          </a:bodyPr>
          <a:p>
            <a:r>
              <a:rPr lang="zh-CN" altLang="en-US" sz="3600"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sym typeface="+mn-ea"/>
              </a:rPr>
              <a:t>知 识 回 顾</a:t>
            </a:r>
            <a:endParaRPr lang="zh-CN" altLang="en-US" sz="3600"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sym typeface="+mn-ea"/>
            </a:endParaRPr>
          </a:p>
        </p:txBody>
      </p:sp>
      <p:graphicFrame>
        <p:nvGraphicFramePr>
          <p:cNvPr id="8" name="对象 -2147482596"/>
          <p:cNvGraphicFramePr>
            <a:graphicFrameLocks noChangeAspect="1"/>
          </p:cNvGraphicFramePr>
          <p:nvPr/>
        </p:nvGraphicFramePr>
        <p:xfrm>
          <a:off x="3264218" y="5727065"/>
          <a:ext cx="5249545" cy="4572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" name="" r:id="rId4" imgW="2628900" imgH="228600" progId="Equation.KSEE3">
                  <p:embed/>
                </p:oleObj>
              </mc:Choice>
              <mc:Fallback>
                <p:oleObj name="" r:id="rId4" imgW="2628900" imgH="228600" progId="Equation.KSEE3">
                  <p:embed/>
                  <p:pic>
                    <p:nvPicPr>
                      <p:cNvPr id="0" name="图片 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264218" y="5727065"/>
                        <a:ext cx="5249545" cy="457200"/>
                      </a:xfrm>
                      <a:prstGeom prst="rect">
                        <a:avLst/>
                      </a:prstGeom>
                      <a:noFill/>
                      <a:ln w="38100">
                        <a:noFill/>
                        <a:miter/>
                      </a:ln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-2147482604" name="对象 -2147482605"/>
          <p:cNvGraphicFramePr>
            <a:graphicFrameLocks noChangeAspect="1"/>
          </p:cNvGraphicFramePr>
          <p:nvPr/>
        </p:nvGraphicFramePr>
        <p:xfrm>
          <a:off x="3264218" y="5128895"/>
          <a:ext cx="4766945" cy="4826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" name="" r:id="rId6" imgW="2273300" imgH="228600" progId="Equation.KSEE3">
                  <p:embed/>
                </p:oleObj>
              </mc:Choice>
              <mc:Fallback>
                <p:oleObj name="" r:id="rId6" imgW="2273300" imgH="228600" progId="Equation.KSEE3">
                  <p:embed/>
                  <p:pic>
                    <p:nvPicPr>
                      <p:cNvPr id="0" name="图片 12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3264218" y="5128895"/>
                        <a:ext cx="4766945" cy="482600"/>
                      </a:xfrm>
                      <a:prstGeom prst="rect">
                        <a:avLst/>
                      </a:prstGeom>
                      <a:noFill/>
                      <a:ln w="38100">
                        <a:noFill/>
                        <a:miter/>
                      </a:ln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8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amond(in)">
                                      <p:cBhvr>
                                        <p:cTn id="7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8" presetClass="entr" presetSubtype="3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amond(out)">
                                      <p:cBhvr>
                                        <p:cTn id="12" dur="1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8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amond(in)">
                                      <p:cBhvr>
                                        <p:cTn id="17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8" presetClass="entr" presetSubtype="3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amond(out)">
                                      <p:cBhvr>
                                        <p:cTn id="22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6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7" dur="2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3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-21474826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2" dur="3000"/>
                                        <p:tgtEl>
                                          <p:spTgt spid="-214748260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2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7" dur="2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3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2b751056-6b97-492c-b763-340acee7e99d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 rot="0">
            <a:off x="581025" y="690880"/>
            <a:ext cx="11212195" cy="918845"/>
            <a:chOff x="1175743" y="1780800"/>
            <a:chExt cx="10444957" cy="677897"/>
          </a:xfrm>
        </p:grpSpPr>
        <p:sp>
          <p:nvSpPr>
            <p:cNvPr id="7" name="iṡľïḑè"/>
            <p:cNvSpPr txBox="1"/>
            <p:nvPr/>
          </p:nvSpPr>
          <p:spPr bwMode="auto">
            <a:xfrm>
              <a:off x="2567063" y="1792616"/>
              <a:ext cx="9053637" cy="666081"/>
            </a:xfrm>
            <a:prstGeom prst="rect">
              <a:avLst/>
            </a:prstGeom>
            <a:noFill/>
          </p:spPr>
          <p:txBody>
            <a:bodyPr wrap="square" tIns="0" anchor="t">
              <a:noAutofit/>
            </a:bodyPr>
            <a:lstStyle>
              <a:defPPr>
                <a:defRPr lang="zh-CN"/>
              </a:defPPr>
              <a:lvl1pPr>
                <a:defRPr sz="1600" b="1">
                  <a:latin typeface="Arial" panose="020B0604020202020204" pitchFamily="34" charset="0"/>
                  <a:ea typeface="微软雅黑" panose="020B0503020204020204" pitchFamily="34" charset="-122"/>
                  <a:cs typeface="+mn-ea"/>
                </a:defRPr>
              </a:lvl1pPr>
              <a:lvl2pPr marL="742950" indent="-285750">
                <a:defRPr sz="3200" b="1">
                  <a:solidFill>
                    <a:srgbClr val="4D4D4D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2pPr>
              <a:lvl3pPr marL="1143000" indent="-228600">
                <a:defRPr sz="3200" b="1">
                  <a:solidFill>
                    <a:srgbClr val="4D4D4D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3pPr>
              <a:lvl4pPr marL="1600200" indent="-228600">
                <a:defRPr sz="3200" b="1">
                  <a:solidFill>
                    <a:srgbClr val="4D4D4D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4pPr>
              <a:lvl5pPr marL="2057400" indent="-228600">
                <a:defRPr sz="3200" b="1">
                  <a:solidFill>
                    <a:srgbClr val="4D4D4D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 b="1">
                  <a:solidFill>
                    <a:srgbClr val="4D4D4D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 b="1">
                  <a:solidFill>
                    <a:srgbClr val="4D4D4D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 b="1">
                  <a:solidFill>
                    <a:srgbClr val="4D4D4D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 b="1">
                  <a:solidFill>
                    <a:srgbClr val="4D4D4D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9pPr>
            </a:lstStyle>
            <a:p>
              <a:pPr marL="342900" indent="-342900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Font typeface="+mj-lt"/>
                <a:buAutoNum type="arabicPeriod"/>
              </a:pPr>
              <a:endParaRPr lang="zh-CN" altLang="en-US" sz="1800" u="none" dirty="0">
                <a:solidFill>
                  <a:srgbClr val="000000"/>
                </a:solidFill>
                <a:latin typeface="宋体" panose="02010600030101010101" pitchFamily="2" charset="-122"/>
                <a:ea typeface="宋体" panose="02010600030101010101" pitchFamily="2" charset="-122"/>
                <a:sym typeface="+mn-lt"/>
              </a:endParaRPr>
            </a:p>
            <a:p>
              <a:pPr indent="0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Font typeface="+mj-lt"/>
                <a:buNone/>
              </a:pPr>
              <a:r>
                <a:rPr lang="zh-CN" altLang="en-US" sz="2800" u="none">
                  <a:latin typeface="+mj-lt"/>
                  <a:ea typeface="+mj-ea"/>
                  <a:cs typeface="+mj-cs"/>
                  <a:sym typeface="+mn-lt"/>
                </a:rPr>
                <a:t>零点的存在性定理</a:t>
              </a:r>
              <a:r>
                <a:rPr lang="zh-CN" altLang="en-US" sz="2000" u="none" dirty="0">
                  <a:solidFill>
                    <a:srgbClr val="000000"/>
                  </a:solidFill>
                  <a:latin typeface="宋体" panose="02010600030101010101" pitchFamily="2" charset="-122"/>
                  <a:ea typeface="宋体" panose="02010600030101010101" pitchFamily="2" charset="-122"/>
                  <a:sym typeface="+mn-lt"/>
                </a:rPr>
                <a:t>：</a:t>
              </a:r>
              <a:endParaRPr lang="zh-CN" altLang="en-US" sz="2800" u="none">
                <a:latin typeface="+mj-lt"/>
                <a:ea typeface="+mj-ea"/>
                <a:cs typeface="+mj-cs"/>
                <a:sym typeface="+mn-lt"/>
              </a:endParaRPr>
            </a:p>
          </p:txBody>
        </p:sp>
        <p:sp>
          <p:nvSpPr>
            <p:cNvPr id="9" name="išľïḋé"/>
            <p:cNvSpPr txBox="1"/>
            <p:nvPr/>
          </p:nvSpPr>
          <p:spPr>
            <a:xfrm>
              <a:off x="1175743" y="1780800"/>
              <a:ext cx="2057230" cy="250600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</a:pPr>
              <a:endParaRPr lang="tr-TR" b="1" u="none" dirty="0">
                <a:solidFill>
                  <a:srgbClr val="00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+mn-ea"/>
                <a:sym typeface="+mn-lt"/>
              </a:endParaRPr>
            </a:p>
          </p:txBody>
        </p:sp>
      </p:grpSp>
      <p:cxnSp>
        <p:nvCxnSpPr>
          <p:cNvPr id="11" name="直接连接符 10"/>
          <p:cNvCxnSpPr/>
          <p:nvPr/>
        </p:nvCxnSpPr>
        <p:spPr>
          <a:xfrm flipH="1">
            <a:off x="1907015" y="690880"/>
            <a:ext cx="9610" cy="5430515"/>
          </a:xfrm>
          <a:prstGeom prst="line">
            <a:avLst/>
          </a:prstGeom>
          <a:solidFill>
            <a:srgbClr val="FFCC00"/>
          </a:solidFill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2" name="poetry_91022"/>
          <p:cNvSpPr>
            <a:spLocks noChangeAspect="1"/>
          </p:cNvSpPr>
          <p:nvPr/>
        </p:nvSpPr>
        <p:spPr bwMode="auto">
          <a:xfrm>
            <a:off x="492760" y="5129001"/>
            <a:ext cx="898119" cy="1241320"/>
          </a:xfrm>
          <a:custGeom>
            <a:avLst/>
            <a:gdLst>
              <a:gd name="T0" fmla="*/ 3353 w 5127"/>
              <a:gd name="T1" fmla="*/ 1728 h 5401"/>
              <a:gd name="T2" fmla="*/ 2183 w 5127"/>
              <a:gd name="T3" fmla="*/ 1608 h 5401"/>
              <a:gd name="T4" fmla="*/ 3353 w 5127"/>
              <a:gd name="T5" fmla="*/ 1488 h 5401"/>
              <a:gd name="T6" fmla="*/ 3103 w 5127"/>
              <a:gd name="T7" fmla="*/ 2231 h 5401"/>
              <a:gd name="T8" fmla="*/ 3103 w 5127"/>
              <a:gd name="T9" fmla="*/ 1991 h 5401"/>
              <a:gd name="T10" fmla="*/ 2432 w 5127"/>
              <a:gd name="T11" fmla="*/ 2111 h 5401"/>
              <a:gd name="T12" fmla="*/ 3103 w 5127"/>
              <a:gd name="T13" fmla="*/ 2231 h 5401"/>
              <a:gd name="T14" fmla="*/ 3353 w 5127"/>
              <a:gd name="T15" fmla="*/ 2648 h 5401"/>
              <a:gd name="T16" fmla="*/ 2183 w 5127"/>
              <a:gd name="T17" fmla="*/ 2768 h 5401"/>
              <a:gd name="T18" fmla="*/ 3353 w 5127"/>
              <a:gd name="T19" fmla="*/ 2888 h 5401"/>
              <a:gd name="T20" fmla="*/ 2552 w 5127"/>
              <a:gd name="T21" fmla="*/ 3151 h 5401"/>
              <a:gd name="T22" fmla="*/ 2552 w 5127"/>
              <a:gd name="T23" fmla="*/ 3391 h 5401"/>
              <a:gd name="T24" fmla="*/ 3223 w 5127"/>
              <a:gd name="T25" fmla="*/ 3271 h 5401"/>
              <a:gd name="T26" fmla="*/ 2552 w 5127"/>
              <a:gd name="T27" fmla="*/ 3151 h 5401"/>
              <a:gd name="T28" fmla="*/ 4448 w 5127"/>
              <a:gd name="T29" fmla="*/ 1442 h 5401"/>
              <a:gd name="T30" fmla="*/ 4688 w 5127"/>
              <a:gd name="T31" fmla="*/ 1442 h 5401"/>
              <a:gd name="T32" fmla="*/ 3988 w 5127"/>
              <a:gd name="T33" fmla="*/ 0 h 5401"/>
              <a:gd name="T34" fmla="*/ 0 w 5127"/>
              <a:gd name="T35" fmla="*/ 604 h 5401"/>
              <a:gd name="T36" fmla="*/ 120 w 5127"/>
              <a:gd name="T37" fmla="*/ 1792 h 5401"/>
              <a:gd name="T38" fmla="*/ 686 w 5127"/>
              <a:gd name="T39" fmla="*/ 1672 h 5401"/>
              <a:gd name="T40" fmla="*/ 240 w 5127"/>
              <a:gd name="T41" fmla="*/ 1552 h 5401"/>
              <a:gd name="T42" fmla="*/ 604 w 5127"/>
              <a:gd name="T43" fmla="*/ 240 h 5401"/>
              <a:gd name="T44" fmla="*/ 968 w 5127"/>
              <a:gd name="T45" fmla="*/ 4179 h 5401"/>
              <a:gd name="T46" fmla="*/ 3904 w 5127"/>
              <a:gd name="T47" fmla="*/ 4879 h 5401"/>
              <a:gd name="T48" fmla="*/ 3904 w 5127"/>
              <a:gd name="T49" fmla="*/ 4639 h 5401"/>
              <a:gd name="T50" fmla="*/ 1208 w 5127"/>
              <a:gd name="T51" fmla="*/ 4179 h 5401"/>
              <a:gd name="T52" fmla="*/ 1086 w 5127"/>
              <a:gd name="T53" fmla="*/ 240 h 5401"/>
              <a:gd name="T54" fmla="*/ 4448 w 5127"/>
              <a:gd name="T55" fmla="*/ 700 h 5401"/>
              <a:gd name="T56" fmla="*/ 4568 w 5127"/>
              <a:gd name="T57" fmla="*/ 2000 h 5401"/>
              <a:gd name="T58" fmla="*/ 4568 w 5127"/>
              <a:gd name="T59" fmla="*/ 2240 h 5401"/>
              <a:gd name="T60" fmla="*/ 4887 w 5127"/>
              <a:gd name="T61" fmla="*/ 2340 h 5401"/>
              <a:gd name="T62" fmla="*/ 5007 w 5127"/>
              <a:gd name="T63" fmla="*/ 3838 h 5401"/>
              <a:gd name="T64" fmla="*/ 5127 w 5127"/>
              <a:gd name="T65" fmla="*/ 2340 h 5401"/>
              <a:gd name="T66" fmla="*/ 4568 w 5127"/>
              <a:gd name="T67" fmla="*/ 5139 h 5401"/>
              <a:gd name="T68" fmla="*/ 4448 w 5127"/>
              <a:gd name="T69" fmla="*/ 5281 h 5401"/>
              <a:gd name="T70" fmla="*/ 4688 w 5127"/>
              <a:gd name="T71" fmla="*/ 5281 h 5401"/>
              <a:gd name="T72" fmla="*/ 4568 w 5127"/>
              <a:gd name="T73" fmla="*/ 5139 h 5401"/>
              <a:gd name="T74" fmla="*/ 4448 w 5127"/>
              <a:gd name="T75" fmla="*/ 2559 h 5401"/>
              <a:gd name="T76" fmla="*/ 4568 w 5127"/>
              <a:gd name="T77" fmla="*/ 4974 h 5401"/>
              <a:gd name="T78" fmla="*/ 4688 w 5127"/>
              <a:gd name="T79" fmla="*/ 2559 h 54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5127" h="5401">
                <a:moveTo>
                  <a:pt x="3473" y="1608"/>
                </a:moveTo>
                <a:cubicBezTo>
                  <a:pt x="3473" y="1674"/>
                  <a:pt x="3419" y="1728"/>
                  <a:pt x="3353" y="1728"/>
                </a:cubicBezTo>
                <a:lnTo>
                  <a:pt x="2303" y="1728"/>
                </a:lnTo>
                <a:cubicBezTo>
                  <a:pt x="2236" y="1728"/>
                  <a:pt x="2183" y="1674"/>
                  <a:pt x="2183" y="1608"/>
                </a:cubicBezTo>
                <a:cubicBezTo>
                  <a:pt x="2183" y="1542"/>
                  <a:pt x="2236" y="1488"/>
                  <a:pt x="2303" y="1488"/>
                </a:cubicBezTo>
                <a:lnTo>
                  <a:pt x="3353" y="1488"/>
                </a:lnTo>
                <a:cubicBezTo>
                  <a:pt x="3419" y="1488"/>
                  <a:pt x="3473" y="1542"/>
                  <a:pt x="3473" y="1608"/>
                </a:cubicBezTo>
                <a:close/>
                <a:moveTo>
                  <a:pt x="3103" y="2231"/>
                </a:moveTo>
                <a:cubicBezTo>
                  <a:pt x="3170" y="2231"/>
                  <a:pt x="3223" y="2178"/>
                  <a:pt x="3223" y="2111"/>
                </a:cubicBezTo>
                <a:cubicBezTo>
                  <a:pt x="3223" y="2045"/>
                  <a:pt x="3170" y="1991"/>
                  <a:pt x="3103" y="1991"/>
                </a:cubicBezTo>
                <a:lnTo>
                  <a:pt x="2552" y="1991"/>
                </a:lnTo>
                <a:cubicBezTo>
                  <a:pt x="2486" y="1991"/>
                  <a:pt x="2432" y="2045"/>
                  <a:pt x="2432" y="2111"/>
                </a:cubicBezTo>
                <a:cubicBezTo>
                  <a:pt x="2432" y="2178"/>
                  <a:pt x="2486" y="2231"/>
                  <a:pt x="2552" y="2231"/>
                </a:cubicBezTo>
                <a:lnTo>
                  <a:pt x="3103" y="2231"/>
                </a:lnTo>
                <a:close/>
                <a:moveTo>
                  <a:pt x="3473" y="2768"/>
                </a:moveTo>
                <a:cubicBezTo>
                  <a:pt x="3473" y="2701"/>
                  <a:pt x="3419" y="2648"/>
                  <a:pt x="3353" y="2648"/>
                </a:cubicBezTo>
                <a:lnTo>
                  <a:pt x="2303" y="2648"/>
                </a:lnTo>
                <a:cubicBezTo>
                  <a:pt x="2236" y="2648"/>
                  <a:pt x="2183" y="2701"/>
                  <a:pt x="2183" y="2768"/>
                </a:cubicBezTo>
                <a:cubicBezTo>
                  <a:pt x="2183" y="2834"/>
                  <a:pt x="2236" y="2888"/>
                  <a:pt x="2303" y="2888"/>
                </a:cubicBezTo>
                <a:lnTo>
                  <a:pt x="3353" y="2888"/>
                </a:lnTo>
                <a:cubicBezTo>
                  <a:pt x="3419" y="2888"/>
                  <a:pt x="3473" y="2834"/>
                  <a:pt x="3473" y="2768"/>
                </a:cubicBezTo>
                <a:close/>
                <a:moveTo>
                  <a:pt x="2552" y="3151"/>
                </a:moveTo>
                <a:cubicBezTo>
                  <a:pt x="2486" y="3151"/>
                  <a:pt x="2432" y="3205"/>
                  <a:pt x="2432" y="3271"/>
                </a:cubicBezTo>
                <a:cubicBezTo>
                  <a:pt x="2432" y="3338"/>
                  <a:pt x="2486" y="3391"/>
                  <a:pt x="2552" y="3391"/>
                </a:cubicBezTo>
                <a:lnTo>
                  <a:pt x="3103" y="3391"/>
                </a:lnTo>
                <a:cubicBezTo>
                  <a:pt x="3170" y="3391"/>
                  <a:pt x="3223" y="3338"/>
                  <a:pt x="3223" y="3271"/>
                </a:cubicBezTo>
                <a:cubicBezTo>
                  <a:pt x="3223" y="3205"/>
                  <a:pt x="3170" y="3151"/>
                  <a:pt x="3103" y="3151"/>
                </a:cubicBezTo>
                <a:lnTo>
                  <a:pt x="2552" y="3151"/>
                </a:lnTo>
                <a:close/>
                <a:moveTo>
                  <a:pt x="4448" y="700"/>
                </a:moveTo>
                <a:lnTo>
                  <a:pt x="4448" y="1442"/>
                </a:lnTo>
                <a:cubicBezTo>
                  <a:pt x="4448" y="1509"/>
                  <a:pt x="4501" y="1562"/>
                  <a:pt x="4568" y="1562"/>
                </a:cubicBezTo>
                <a:cubicBezTo>
                  <a:pt x="4634" y="1562"/>
                  <a:pt x="4688" y="1509"/>
                  <a:pt x="4688" y="1442"/>
                </a:cubicBezTo>
                <a:lnTo>
                  <a:pt x="4688" y="700"/>
                </a:lnTo>
                <a:cubicBezTo>
                  <a:pt x="4688" y="314"/>
                  <a:pt x="4374" y="0"/>
                  <a:pt x="3988" y="0"/>
                </a:cubicBezTo>
                <a:lnTo>
                  <a:pt x="604" y="0"/>
                </a:lnTo>
                <a:cubicBezTo>
                  <a:pt x="271" y="0"/>
                  <a:pt x="0" y="271"/>
                  <a:pt x="0" y="604"/>
                </a:cubicBezTo>
                <a:lnTo>
                  <a:pt x="0" y="1672"/>
                </a:lnTo>
                <a:cubicBezTo>
                  <a:pt x="0" y="1738"/>
                  <a:pt x="53" y="1792"/>
                  <a:pt x="120" y="1792"/>
                </a:cubicBezTo>
                <a:lnTo>
                  <a:pt x="566" y="1792"/>
                </a:lnTo>
                <a:cubicBezTo>
                  <a:pt x="632" y="1792"/>
                  <a:pt x="686" y="1738"/>
                  <a:pt x="686" y="1672"/>
                </a:cubicBezTo>
                <a:cubicBezTo>
                  <a:pt x="686" y="1606"/>
                  <a:pt x="632" y="1552"/>
                  <a:pt x="566" y="1552"/>
                </a:cubicBezTo>
                <a:lnTo>
                  <a:pt x="240" y="1552"/>
                </a:lnTo>
                <a:lnTo>
                  <a:pt x="240" y="604"/>
                </a:lnTo>
                <a:cubicBezTo>
                  <a:pt x="240" y="403"/>
                  <a:pt x="403" y="240"/>
                  <a:pt x="604" y="240"/>
                </a:cubicBezTo>
                <a:cubicBezTo>
                  <a:pt x="805" y="240"/>
                  <a:pt x="968" y="403"/>
                  <a:pt x="968" y="604"/>
                </a:cubicBezTo>
                <a:lnTo>
                  <a:pt x="968" y="4179"/>
                </a:lnTo>
                <a:cubicBezTo>
                  <a:pt x="968" y="4565"/>
                  <a:pt x="1282" y="4879"/>
                  <a:pt x="1668" y="4879"/>
                </a:cubicBezTo>
                <a:lnTo>
                  <a:pt x="3904" y="4879"/>
                </a:lnTo>
                <a:cubicBezTo>
                  <a:pt x="3970" y="4879"/>
                  <a:pt x="4024" y="4825"/>
                  <a:pt x="4024" y="4759"/>
                </a:cubicBezTo>
                <a:cubicBezTo>
                  <a:pt x="4024" y="4693"/>
                  <a:pt x="3970" y="4639"/>
                  <a:pt x="3904" y="4639"/>
                </a:cubicBezTo>
                <a:lnTo>
                  <a:pt x="1668" y="4639"/>
                </a:lnTo>
                <a:cubicBezTo>
                  <a:pt x="1415" y="4639"/>
                  <a:pt x="1208" y="4433"/>
                  <a:pt x="1208" y="4179"/>
                </a:cubicBezTo>
                <a:lnTo>
                  <a:pt x="1208" y="604"/>
                </a:lnTo>
                <a:cubicBezTo>
                  <a:pt x="1208" y="468"/>
                  <a:pt x="1163" y="341"/>
                  <a:pt x="1086" y="240"/>
                </a:cubicBezTo>
                <a:lnTo>
                  <a:pt x="3988" y="240"/>
                </a:lnTo>
                <a:cubicBezTo>
                  <a:pt x="4241" y="240"/>
                  <a:pt x="4448" y="446"/>
                  <a:pt x="4448" y="700"/>
                </a:cubicBezTo>
                <a:close/>
                <a:moveTo>
                  <a:pt x="4787" y="2000"/>
                </a:moveTo>
                <a:lnTo>
                  <a:pt x="4568" y="2000"/>
                </a:lnTo>
                <a:cubicBezTo>
                  <a:pt x="4501" y="2000"/>
                  <a:pt x="4448" y="2054"/>
                  <a:pt x="4448" y="2120"/>
                </a:cubicBezTo>
                <a:cubicBezTo>
                  <a:pt x="4448" y="2187"/>
                  <a:pt x="4501" y="2240"/>
                  <a:pt x="4568" y="2240"/>
                </a:cubicBezTo>
                <a:lnTo>
                  <a:pt x="4787" y="2240"/>
                </a:lnTo>
                <a:cubicBezTo>
                  <a:pt x="4842" y="2240"/>
                  <a:pt x="4887" y="2285"/>
                  <a:pt x="4887" y="2340"/>
                </a:cubicBezTo>
                <a:lnTo>
                  <a:pt x="4887" y="3718"/>
                </a:lnTo>
                <a:cubicBezTo>
                  <a:pt x="4887" y="3785"/>
                  <a:pt x="4941" y="3838"/>
                  <a:pt x="5007" y="3838"/>
                </a:cubicBezTo>
                <a:cubicBezTo>
                  <a:pt x="5073" y="3838"/>
                  <a:pt x="5127" y="3785"/>
                  <a:pt x="5127" y="3718"/>
                </a:cubicBezTo>
                <a:lnTo>
                  <a:pt x="5127" y="2340"/>
                </a:lnTo>
                <a:cubicBezTo>
                  <a:pt x="5127" y="2153"/>
                  <a:pt x="4975" y="2000"/>
                  <a:pt x="4787" y="2000"/>
                </a:cubicBezTo>
                <a:close/>
                <a:moveTo>
                  <a:pt x="4568" y="5139"/>
                </a:moveTo>
                <a:cubicBezTo>
                  <a:pt x="4501" y="5139"/>
                  <a:pt x="4448" y="5193"/>
                  <a:pt x="4448" y="5259"/>
                </a:cubicBezTo>
                <a:lnTo>
                  <a:pt x="4448" y="5281"/>
                </a:lnTo>
                <a:cubicBezTo>
                  <a:pt x="4448" y="5347"/>
                  <a:pt x="4501" y="5401"/>
                  <a:pt x="4568" y="5401"/>
                </a:cubicBezTo>
                <a:cubicBezTo>
                  <a:pt x="4634" y="5401"/>
                  <a:pt x="4688" y="5347"/>
                  <a:pt x="4688" y="5281"/>
                </a:cubicBezTo>
                <a:lnTo>
                  <a:pt x="4688" y="5259"/>
                </a:lnTo>
                <a:cubicBezTo>
                  <a:pt x="4688" y="5193"/>
                  <a:pt x="4634" y="5139"/>
                  <a:pt x="4568" y="5139"/>
                </a:cubicBezTo>
                <a:close/>
                <a:moveTo>
                  <a:pt x="4568" y="2439"/>
                </a:moveTo>
                <a:cubicBezTo>
                  <a:pt x="4501" y="2439"/>
                  <a:pt x="4448" y="2492"/>
                  <a:pt x="4448" y="2559"/>
                </a:cubicBezTo>
                <a:lnTo>
                  <a:pt x="4448" y="4854"/>
                </a:lnTo>
                <a:cubicBezTo>
                  <a:pt x="4448" y="4920"/>
                  <a:pt x="4501" y="4974"/>
                  <a:pt x="4568" y="4974"/>
                </a:cubicBezTo>
                <a:cubicBezTo>
                  <a:pt x="4634" y="4974"/>
                  <a:pt x="4688" y="4920"/>
                  <a:pt x="4688" y="4854"/>
                </a:cubicBezTo>
                <a:lnTo>
                  <a:pt x="4688" y="2559"/>
                </a:lnTo>
                <a:cubicBezTo>
                  <a:pt x="4688" y="2492"/>
                  <a:pt x="4634" y="2439"/>
                  <a:pt x="4568" y="2439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txBody>
          <a:bodyPr/>
          <a:p>
            <a:endParaRPr lang="zh-CN" altLang="en-US" sz="1350">
              <a:cs typeface="+mn-ea"/>
              <a:sym typeface="+mn-lt"/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74545" y="1609725"/>
            <a:ext cx="9896475" cy="1771650"/>
          </a:xfrm>
          <a:prstGeom prst="rect">
            <a:avLst/>
          </a:prstGeom>
        </p:spPr>
      </p:pic>
      <p:grpSp>
        <p:nvGrpSpPr>
          <p:cNvPr id="19" name="组合 18"/>
          <p:cNvGrpSpPr/>
          <p:nvPr/>
        </p:nvGrpSpPr>
        <p:grpSpPr>
          <a:xfrm>
            <a:off x="1935480" y="3645535"/>
            <a:ext cx="9460865" cy="647700"/>
            <a:chOff x="3048" y="5741"/>
            <a:chExt cx="14899" cy="1020"/>
          </a:xfrm>
        </p:grpSpPr>
        <p:sp>
          <p:nvSpPr>
            <p:cNvPr id="14" name="矩形 13"/>
            <p:cNvSpPr/>
            <p:nvPr>
              <p:custDataLst>
                <p:tags r:id="rId3"/>
              </p:custDataLst>
            </p:nvPr>
          </p:nvSpPr>
          <p:spPr>
            <a:xfrm>
              <a:off x="3048" y="5741"/>
              <a:ext cx="12323" cy="1020"/>
            </a:xfrm>
            <a:prstGeom prst="rect">
              <a:avLst/>
            </a:prstGeom>
            <a:solidFill>
              <a:srgbClr val="3498DB">
                <a:lumMod val="20000"/>
                <a:lumOff val="80000"/>
              </a:srgbClr>
            </a:solidFill>
            <a:ln>
              <a:noFill/>
            </a:ln>
          </p:spPr>
          <p:style>
            <a:lnRef idx="2">
              <a:srgbClr val="1F74AD">
                <a:shade val="50000"/>
              </a:srgbClr>
            </a:lnRef>
            <a:fillRef idx="1">
              <a:srgbClr val="1F74AD"/>
            </a:fillRef>
            <a:effectRef idx="0">
              <a:srgbClr val="1F74AD"/>
            </a:effectRef>
            <a:fontRef idx="minor">
              <a:sysClr val="window" lastClr="FFFFFF"/>
            </a:fontRef>
          </p:style>
          <p:txBody>
            <a:bodyPr wrap="square" rtlCol="0" anchor="ctr">
              <a:normAutofit/>
            </a:bodyPr>
            <a:p>
              <a:pPr marL="0" marR="0" lvl="0" indent="0" algn="ctr" defTabSz="914400" rtl="0" eaLnBrk="1" fontAlgn="auto" latinLnBrk="0" hangingPunct="1">
                <a:lnSpc>
                  <a:spcPct val="120000"/>
                </a:lnSpc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endParaRPr>
            </a:p>
          </p:txBody>
        </p:sp>
        <p:sp>
          <p:nvSpPr>
            <p:cNvPr id="39" name="Rectangle 10"/>
            <p:cNvSpPr/>
            <p:nvPr>
              <p:custDataLst>
                <p:tags r:id="rId4"/>
              </p:custDataLst>
            </p:nvPr>
          </p:nvSpPr>
          <p:spPr>
            <a:xfrm>
              <a:off x="15091" y="5741"/>
              <a:ext cx="2857" cy="1020"/>
            </a:xfrm>
            <a:prstGeom prst="rect">
              <a:avLst/>
            </a:prstGeom>
            <a:solidFill>
              <a:srgbClr val="3498DB"/>
            </a:solidFill>
            <a:ln>
              <a:noFill/>
            </a:ln>
          </p:spPr>
          <p:style>
            <a:lnRef idx="2">
              <a:srgbClr val="1F74AD">
                <a:shade val="50000"/>
              </a:srgbClr>
            </a:lnRef>
            <a:fillRef idx="1">
              <a:srgbClr val="1F74AD"/>
            </a:fillRef>
            <a:effectRef idx="0">
              <a:srgbClr val="1F74AD"/>
            </a:effectRef>
            <a:fontRef idx="minor">
              <a:sysClr val="window" lastClr="FFFFFF"/>
            </a:fontRef>
          </p:style>
          <p:txBody>
            <a:bodyPr wrap="square" rtlCol="0" anchor="ctr">
              <a:normAutofit/>
            </a:bodyPr>
            <a:p>
              <a:pPr marL="0" marR="0" lvl="0" indent="0" algn="ctr" defTabSz="913765" rtl="0" eaLnBrk="1" fontAlgn="auto" latinLnBrk="0" hangingPunct="1">
                <a:lnSpc>
                  <a:spcPct val="120000"/>
                </a:lnSpc>
                <a:buClrTx/>
                <a:buSzTx/>
                <a:buFontTx/>
                <a:buNone/>
                <a:defRPr/>
              </a:pPr>
              <a:endParaRPr kumimoji="0" lang="id-ID" sz="1350" b="0" i="0" u="none" strike="noStrike" kern="120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endParaRPr>
            </a:p>
          </p:txBody>
        </p:sp>
        <p:sp>
          <p:nvSpPr>
            <p:cNvPr id="40" name="Isosceles Triangle 11"/>
            <p:cNvSpPr/>
            <p:nvPr>
              <p:custDataLst>
                <p:tags r:id="rId5"/>
              </p:custDataLst>
            </p:nvPr>
          </p:nvSpPr>
          <p:spPr>
            <a:xfrm rot="16200000">
              <a:off x="14446" y="6073"/>
              <a:ext cx="932" cy="357"/>
            </a:xfrm>
            <a:prstGeom prst="triangle">
              <a:avLst>
                <a:gd name="adj" fmla="val 50014"/>
              </a:avLst>
            </a:prstGeom>
            <a:solidFill>
              <a:srgbClr val="3498DB"/>
            </a:solidFill>
            <a:ln>
              <a:noFill/>
            </a:ln>
          </p:spPr>
          <p:style>
            <a:lnRef idx="2">
              <a:srgbClr val="1F74AD">
                <a:shade val="50000"/>
              </a:srgbClr>
            </a:lnRef>
            <a:fillRef idx="1">
              <a:srgbClr val="1F74AD"/>
            </a:fillRef>
            <a:effectRef idx="0">
              <a:srgbClr val="1F74AD"/>
            </a:effectRef>
            <a:fontRef idx="minor">
              <a:sysClr val="window" lastClr="FFFFFF"/>
            </a:fontRef>
          </p:style>
          <p:txBody>
            <a:bodyPr wrap="square" rtlCol="0" anchor="ctr">
              <a:normAutofit fontScale="25000" lnSpcReduction="20000"/>
            </a:bodyPr>
            <a:p>
              <a:pPr marL="0" marR="0" lvl="0" indent="0" algn="ctr" defTabSz="913765" rtl="0" eaLnBrk="1" fontAlgn="auto" latinLnBrk="0" hangingPunct="1">
                <a:lnSpc>
                  <a:spcPct val="140000"/>
                </a:lnSpc>
                <a:buClrTx/>
                <a:buSzTx/>
                <a:buFontTx/>
                <a:buNone/>
                <a:defRPr/>
              </a:pPr>
              <a:endParaRPr kumimoji="0" lang="id-ID" sz="1350" b="0" i="0" u="none" strike="noStrike" kern="120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endParaRPr>
            </a:p>
          </p:txBody>
        </p:sp>
        <p:sp>
          <p:nvSpPr>
            <p:cNvPr id="15" name="文本框 14"/>
            <p:cNvSpPr txBox="1"/>
            <p:nvPr>
              <p:custDataLst>
                <p:tags r:id="rId6"/>
              </p:custDataLst>
            </p:nvPr>
          </p:nvSpPr>
          <p:spPr>
            <a:xfrm>
              <a:off x="15552" y="5745"/>
              <a:ext cx="2395" cy="1012"/>
            </a:xfrm>
            <a:prstGeom prst="rect">
              <a:avLst/>
            </a:prstGeom>
            <a:noFill/>
          </p:spPr>
          <p:txBody>
            <a:bodyPr wrap="square" rtlCol="0" anchor="ctr" anchorCtr="1">
              <a:normAutofit/>
            </a:bodyPr>
            <a:p>
              <a:pPr marL="0" marR="0" lvl="0" indent="0" algn="ctr" defTabSz="914400" rtl="0" eaLnBrk="1" fontAlgn="auto" latinLnBrk="0" hangingPunct="1">
                <a:lnSpc>
                  <a:spcPct val="120000"/>
                </a:lnSpc>
                <a:buClrTx/>
                <a:buSzTx/>
                <a:buFontTx/>
                <a:buNone/>
                <a:defRPr/>
              </a:pPr>
              <a:r>
                <a:rPr kumimoji="0" lang="zh-CN" altLang="en-US" b="1" i="0" u="none" strike="noStrike" kern="1200" cap="none" spc="300" normalizeH="0" noProof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注意</a:t>
              </a:r>
              <a:endParaRPr kumimoji="0" lang="zh-CN" altLang="en-US" b="1" i="0" u="none" strike="noStrike" kern="1200" cap="none" spc="300" normalizeH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endParaRPr>
            </a:p>
          </p:txBody>
        </p:sp>
      </p:grpSp>
      <p:sp>
        <p:nvSpPr>
          <p:cNvPr id="16" name="文本框 15"/>
          <p:cNvSpPr txBox="1"/>
          <p:nvPr>
            <p:custDataLst>
              <p:tags r:id="rId7"/>
            </p:custDataLst>
          </p:nvPr>
        </p:nvSpPr>
        <p:spPr>
          <a:xfrm>
            <a:off x="2209080" y="3666541"/>
            <a:ext cx="7037672" cy="605835"/>
          </a:xfrm>
          <a:prstGeom prst="rect">
            <a:avLst/>
          </a:prstGeom>
          <a:noFill/>
        </p:spPr>
        <p:txBody>
          <a:bodyPr wrap="square" rtlCol="0" anchor="ctr"/>
          <a:p>
            <a:pPr marL="0" marR="0" lvl="0" indent="0" algn="l" defTabSz="914400" rtl="0" eaLnBrk="1" fontAlgn="auto" latinLnBrk="0" hangingPunct="1">
              <a:lnSpc>
                <a:spcPct val="120000"/>
              </a:lnSpc>
              <a:buClrTx/>
              <a:buSzTx/>
              <a:buFontTx/>
              <a:buNone/>
              <a:defRPr/>
            </a:pPr>
            <a:r>
              <a:rPr lang="zh-CN" altLang="en-US" sz="2400" b="1">
                <a:latin typeface="宋体" panose="02010600030101010101" pitchFamily="2" charset="-122"/>
                <a:ea typeface="宋体" panose="02010600030101010101" pitchFamily="2" charset="-122"/>
                <a:sym typeface="+mn-ea"/>
              </a:rPr>
              <a:t>零点的存在性定理是函数有零点的充分不必要条件</a:t>
            </a:r>
            <a:endParaRPr kumimoji="0" lang="zh-CN" altLang="en-US" sz="2400" b="1" i="0" u="none" strike="noStrike" kern="1200" cap="none" spc="150" normalizeH="0" noProof="0">
              <a:ln>
                <a:noFill/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宋体" panose="02010600030101010101" pitchFamily="2" charset="-122"/>
              <a:ea typeface="宋体" panose="02010600030101010101" pitchFamily="2" charset="-122"/>
              <a:sym typeface="+mn-ea"/>
            </a:endParaRPr>
          </a:p>
        </p:txBody>
      </p:sp>
      <p:grpSp>
        <p:nvGrpSpPr>
          <p:cNvPr id="20" name="组合 19"/>
          <p:cNvGrpSpPr/>
          <p:nvPr/>
        </p:nvGrpSpPr>
        <p:grpSpPr>
          <a:xfrm>
            <a:off x="1935480" y="4316095"/>
            <a:ext cx="9460865" cy="647700"/>
            <a:chOff x="3048" y="6797"/>
            <a:chExt cx="14899" cy="1020"/>
          </a:xfrm>
        </p:grpSpPr>
        <p:sp>
          <p:nvSpPr>
            <p:cNvPr id="48" name="矩形 47"/>
            <p:cNvSpPr/>
            <p:nvPr>
              <p:custDataLst>
                <p:tags r:id="rId8"/>
              </p:custDataLst>
            </p:nvPr>
          </p:nvSpPr>
          <p:spPr>
            <a:xfrm>
              <a:off x="3048" y="6797"/>
              <a:ext cx="12323" cy="1020"/>
            </a:xfrm>
            <a:prstGeom prst="rect">
              <a:avLst/>
            </a:prstGeom>
            <a:solidFill>
              <a:srgbClr val="9BBB59">
                <a:lumMod val="20000"/>
                <a:lumOff val="80000"/>
              </a:srgbClr>
            </a:solidFill>
            <a:ln>
              <a:noFill/>
            </a:ln>
          </p:spPr>
          <p:style>
            <a:lnRef idx="2">
              <a:srgbClr val="1F74AD">
                <a:shade val="50000"/>
              </a:srgbClr>
            </a:lnRef>
            <a:fillRef idx="1">
              <a:srgbClr val="1F74AD"/>
            </a:fillRef>
            <a:effectRef idx="0">
              <a:srgbClr val="1F74AD"/>
            </a:effectRef>
            <a:fontRef idx="minor">
              <a:sysClr val="window" lastClr="FFFFFF"/>
            </a:fontRef>
          </p:style>
          <p:txBody>
            <a:bodyPr wrap="square" rtlCol="0" anchor="ctr">
              <a:normAutofit/>
            </a:bodyPr>
            <a:p>
              <a:pPr marL="0" marR="0" lvl="0" indent="0" algn="ctr" defTabSz="914400" rtl="0" eaLnBrk="1" fontAlgn="auto" latinLnBrk="0" hangingPunct="1">
                <a:lnSpc>
                  <a:spcPct val="120000"/>
                </a:lnSpc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endParaRPr>
            </a:p>
          </p:txBody>
        </p:sp>
        <p:sp>
          <p:nvSpPr>
            <p:cNvPr id="34" name="Rectangle 9"/>
            <p:cNvSpPr/>
            <p:nvPr>
              <p:custDataLst>
                <p:tags r:id="rId9"/>
              </p:custDataLst>
            </p:nvPr>
          </p:nvSpPr>
          <p:spPr>
            <a:xfrm>
              <a:off x="15091" y="6797"/>
              <a:ext cx="2857" cy="1020"/>
            </a:xfrm>
            <a:prstGeom prst="rect">
              <a:avLst/>
            </a:prstGeom>
            <a:solidFill>
              <a:srgbClr val="9BBB59"/>
            </a:solidFill>
            <a:ln>
              <a:noFill/>
            </a:ln>
          </p:spPr>
          <p:style>
            <a:lnRef idx="2">
              <a:srgbClr val="1F74AD">
                <a:shade val="50000"/>
              </a:srgbClr>
            </a:lnRef>
            <a:fillRef idx="1">
              <a:srgbClr val="1F74AD"/>
            </a:fillRef>
            <a:effectRef idx="0">
              <a:srgbClr val="1F74AD"/>
            </a:effectRef>
            <a:fontRef idx="minor">
              <a:sysClr val="window" lastClr="FFFFFF"/>
            </a:fontRef>
          </p:style>
          <p:txBody>
            <a:bodyPr wrap="square" rtlCol="0" anchor="ctr">
              <a:normAutofit/>
            </a:bodyPr>
            <a:p>
              <a:pPr marL="0" marR="0" lvl="0" indent="0" algn="ctr" defTabSz="913765" rtl="0" eaLnBrk="1" fontAlgn="auto" latinLnBrk="0" hangingPunct="1">
                <a:lnSpc>
                  <a:spcPct val="120000"/>
                </a:lnSpc>
                <a:buClrTx/>
                <a:buSzTx/>
                <a:buFontTx/>
                <a:buNone/>
                <a:defRPr/>
              </a:pPr>
              <a:endParaRPr kumimoji="0" lang="id-ID" sz="1350" b="0" i="0" u="none" strike="noStrike" kern="120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endParaRPr>
            </a:p>
          </p:txBody>
        </p:sp>
        <p:sp>
          <p:nvSpPr>
            <p:cNvPr id="46" name="Isosceles Triangle 12"/>
            <p:cNvSpPr/>
            <p:nvPr>
              <p:custDataLst>
                <p:tags r:id="rId10"/>
              </p:custDataLst>
            </p:nvPr>
          </p:nvSpPr>
          <p:spPr>
            <a:xfrm rot="16200000">
              <a:off x="14446" y="7128"/>
              <a:ext cx="932" cy="357"/>
            </a:xfrm>
            <a:prstGeom prst="triangle">
              <a:avLst/>
            </a:prstGeom>
            <a:solidFill>
              <a:srgbClr val="9BBB59"/>
            </a:solidFill>
            <a:ln>
              <a:noFill/>
            </a:ln>
          </p:spPr>
          <p:style>
            <a:lnRef idx="2">
              <a:srgbClr val="1F74AD">
                <a:shade val="50000"/>
              </a:srgbClr>
            </a:lnRef>
            <a:fillRef idx="1">
              <a:srgbClr val="1F74AD"/>
            </a:fillRef>
            <a:effectRef idx="0">
              <a:srgbClr val="1F74AD"/>
            </a:effectRef>
            <a:fontRef idx="minor">
              <a:sysClr val="window" lastClr="FFFFFF"/>
            </a:fontRef>
          </p:style>
          <p:txBody>
            <a:bodyPr wrap="square" rtlCol="0" anchor="ctr">
              <a:normAutofit fontScale="25000" lnSpcReduction="20000"/>
            </a:bodyPr>
            <a:p>
              <a:pPr marL="0" marR="0" lvl="0" indent="0" algn="ctr" defTabSz="913765" rtl="0" eaLnBrk="1" fontAlgn="auto" latinLnBrk="0" hangingPunct="1">
                <a:lnSpc>
                  <a:spcPct val="140000"/>
                </a:lnSpc>
                <a:buClrTx/>
                <a:buSzTx/>
                <a:buFontTx/>
                <a:buNone/>
                <a:defRPr/>
              </a:pPr>
              <a:endParaRPr kumimoji="0" lang="id-ID" sz="1350" b="0" i="0" u="none" strike="noStrike" kern="120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endParaRPr>
            </a:p>
          </p:txBody>
        </p:sp>
        <p:sp>
          <p:nvSpPr>
            <p:cNvPr id="50" name="文本框 49"/>
            <p:cNvSpPr txBox="1"/>
            <p:nvPr>
              <p:custDataLst>
                <p:tags r:id="rId11"/>
              </p:custDataLst>
            </p:nvPr>
          </p:nvSpPr>
          <p:spPr>
            <a:xfrm>
              <a:off x="15552" y="6797"/>
              <a:ext cx="2395" cy="1020"/>
            </a:xfrm>
            <a:prstGeom prst="rect">
              <a:avLst/>
            </a:prstGeom>
            <a:noFill/>
          </p:spPr>
          <p:txBody>
            <a:bodyPr wrap="square" rtlCol="0" anchor="ctr" anchorCtr="1">
              <a:normAutofit/>
            </a:bodyPr>
            <a:p>
              <a:pPr marL="0" marR="0" lvl="0" indent="0" algn="ctr" defTabSz="914400" rtl="0" eaLnBrk="1" fontAlgn="auto" latinLnBrk="0" hangingPunct="1">
                <a:lnSpc>
                  <a:spcPct val="120000"/>
                </a:lnSpc>
                <a:buClrTx/>
                <a:buSzTx/>
                <a:buFontTx/>
                <a:buNone/>
                <a:defRPr/>
              </a:pPr>
              <a:r>
                <a:rPr kumimoji="0" lang="zh-CN" altLang="en-US" b="1" i="0" u="none" strike="noStrike" kern="1200" cap="none" spc="300" normalizeH="0" noProof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说明</a:t>
              </a:r>
              <a:endParaRPr kumimoji="0" lang="zh-CN" altLang="en-US" b="1" i="0" u="none" strike="noStrike" kern="1200" cap="none" spc="300" normalizeH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endParaRPr>
            </a:p>
          </p:txBody>
        </p:sp>
        <p:sp>
          <p:nvSpPr>
            <p:cNvPr id="52" name="文本框 51"/>
            <p:cNvSpPr txBox="1"/>
            <p:nvPr>
              <p:custDataLst>
                <p:tags r:id="rId12"/>
              </p:custDataLst>
            </p:nvPr>
          </p:nvSpPr>
          <p:spPr>
            <a:xfrm>
              <a:off x="4040" y="6829"/>
              <a:ext cx="9531" cy="954"/>
            </a:xfrm>
            <a:prstGeom prst="rect">
              <a:avLst/>
            </a:prstGeom>
            <a:noFill/>
          </p:spPr>
          <p:txBody>
            <a:bodyPr wrap="square" rtlCol="0" anchor="ctr"/>
            <a:p>
              <a:pPr marL="0" marR="0" lvl="0" indent="0" algn="l" defTabSz="914400" rtl="0" eaLnBrk="1" fontAlgn="auto" latinLnBrk="0" hangingPunct="1">
                <a:lnSpc>
                  <a:spcPct val="120000"/>
                </a:lnSpc>
                <a:buClrTx/>
                <a:buSzTx/>
                <a:buFontTx/>
                <a:buNone/>
                <a:defRPr/>
              </a:pPr>
              <a:r>
                <a:rPr lang="zh-CN" altLang="en-US" sz="2400" b="1">
                  <a:latin typeface="宋体" panose="02010600030101010101" pitchFamily="2" charset="-122"/>
                  <a:ea typeface="宋体" panose="02010600030101010101" pitchFamily="2" charset="-122"/>
                  <a:sym typeface="+mn-ea"/>
                </a:rPr>
                <a:t>因此常结合单调性判断零点情况</a:t>
              </a:r>
              <a:endParaRPr kumimoji="0" lang="zh-CN" altLang="en-US" sz="2400" b="1" i="0" u="none" strike="noStrike" kern="1200" cap="none" spc="150" normalizeH="0" noProof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宋体" panose="02010600030101010101" pitchFamily="2" charset="-122"/>
                <a:ea typeface="宋体" panose="02010600030101010101" pitchFamily="2" charset="-122"/>
                <a:sym typeface="+mn-ea"/>
              </a:endParaRPr>
            </a:p>
          </p:txBody>
        </p:sp>
      </p:grpSp>
      <p:sp>
        <p:nvSpPr>
          <p:cNvPr id="21" name="文本框 20"/>
          <p:cNvSpPr txBox="1"/>
          <p:nvPr/>
        </p:nvSpPr>
        <p:spPr>
          <a:xfrm>
            <a:off x="630555" y="1323975"/>
            <a:ext cx="736600" cy="2301240"/>
          </a:xfrm>
          <a:prstGeom prst="rect">
            <a:avLst/>
          </a:prstGeom>
          <a:noFill/>
        </p:spPr>
        <p:txBody>
          <a:bodyPr vert="eaVert" wrap="none" rtlCol="0">
            <a:spAutoFit/>
          </a:bodyPr>
          <a:p>
            <a:pPr algn="l"/>
            <a:r>
              <a:rPr lang="zh-CN" altLang="en-US" sz="3600"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sym typeface="+mn-ea"/>
              </a:rPr>
              <a:t>知 </a:t>
            </a:r>
            <a:r>
              <a:rPr lang="zh-CN" altLang="en-US" sz="3600"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sym typeface="+mn-ea"/>
              </a:rPr>
              <a:t>识</a:t>
            </a:r>
            <a:r>
              <a:rPr lang="zh-CN" altLang="en-US" sz="3600"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sym typeface="+mn-ea"/>
              </a:rPr>
              <a:t> </a:t>
            </a:r>
            <a:r>
              <a:rPr lang="zh-CN" altLang="en-US" sz="3600"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sym typeface="+mn-ea"/>
              </a:rPr>
              <a:t>回</a:t>
            </a:r>
            <a:r>
              <a:rPr lang="zh-CN" altLang="en-US" sz="3600"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sym typeface="+mn-ea"/>
              </a:rPr>
              <a:t> </a:t>
            </a:r>
            <a:r>
              <a:rPr lang="zh-CN" altLang="en-US" sz="3600"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sym typeface="+mn-ea"/>
              </a:rPr>
              <a:t>顾</a:t>
            </a:r>
            <a:endParaRPr lang="zh-CN" altLang="en-US" sz="3600"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sym typeface="+mn-ea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8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amond(in)">
                                      <p:cBhvr>
                                        <p:cTn id="7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8" presetClass="entr" presetSubtype="3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5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amond(out)">
                                      <p:cBhvr>
                                        <p:cTn id="12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1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2)">
                                      <p:cBhvr>
                                        <p:cTn id="17" dur="1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000"/>
                            </p:stCondLst>
                            <p:childTnLst>
                              <p:par>
                                <p:cTn id="19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1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2)">
                                      <p:cBhvr>
                                        <p:cTn id="25" dur="10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2b751056-6b97-492c-b763-340acee7e99d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 rot="0">
            <a:off x="581025" y="690880"/>
            <a:ext cx="11212195" cy="918845"/>
            <a:chOff x="1175743" y="1780800"/>
            <a:chExt cx="10444957" cy="677897"/>
          </a:xfrm>
        </p:grpSpPr>
        <p:sp>
          <p:nvSpPr>
            <p:cNvPr id="7" name="iṡľïḑè"/>
            <p:cNvSpPr txBox="1"/>
            <p:nvPr/>
          </p:nvSpPr>
          <p:spPr bwMode="auto">
            <a:xfrm>
              <a:off x="2567063" y="1792616"/>
              <a:ext cx="9053637" cy="666081"/>
            </a:xfrm>
            <a:prstGeom prst="rect">
              <a:avLst/>
            </a:prstGeom>
            <a:noFill/>
          </p:spPr>
          <p:txBody>
            <a:bodyPr wrap="square" tIns="0" anchor="t">
              <a:noAutofit/>
            </a:bodyPr>
            <a:lstStyle>
              <a:defPPr>
                <a:defRPr lang="zh-CN"/>
              </a:defPPr>
              <a:lvl1pPr>
                <a:defRPr sz="1600" b="1">
                  <a:latin typeface="Arial" panose="020B0604020202020204" pitchFamily="34" charset="0"/>
                  <a:ea typeface="微软雅黑" panose="020B0503020204020204" pitchFamily="34" charset="-122"/>
                  <a:cs typeface="+mn-ea"/>
                </a:defRPr>
              </a:lvl1pPr>
              <a:lvl2pPr marL="742950" indent="-285750">
                <a:defRPr sz="3200" b="1">
                  <a:solidFill>
                    <a:srgbClr val="4D4D4D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2pPr>
              <a:lvl3pPr marL="1143000" indent="-228600">
                <a:defRPr sz="3200" b="1">
                  <a:solidFill>
                    <a:srgbClr val="4D4D4D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3pPr>
              <a:lvl4pPr marL="1600200" indent="-228600">
                <a:defRPr sz="3200" b="1">
                  <a:solidFill>
                    <a:srgbClr val="4D4D4D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4pPr>
              <a:lvl5pPr marL="2057400" indent="-228600">
                <a:defRPr sz="3200" b="1">
                  <a:solidFill>
                    <a:srgbClr val="4D4D4D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 b="1">
                  <a:solidFill>
                    <a:srgbClr val="4D4D4D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 b="1">
                  <a:solidFill>
                    <a:srgbClr val="4D4D4D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 b="1">
                  <a:solidFill>
                    <a:srgbClr val="4D4D4D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 b="1">
                  <a:solidFill>
                    <a:srgbClr val="4D4D4D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9pPr>
            </a:lstStyle>
            <a:p>
              <a:pPr marL="342900" indent="-342900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Font typeface="+mj-lt"/>
                <a:buAutoNum type="arabicPeriod"/>
              </a:pPr>
              <a:endParaRPr lang="zh-CN" altLang="en-US" sz="1800" u="none" dirty="0">
                <a:solidFill>
                  <a:srgbClr val="000000"/>
                </a:solidFill>
                <a:latin typeface="宋体" panose="02010600030101010101" pitchFamily="2" charset="-122"/>
                <a:ea typeface="宋体" panose="02010600030101010101" pitchFamily="2" charset="-122"/>
                <a:sym typeface="+mn-lt"/>
              </a:endParaRPr>
            </a:p>
            <a:p>
              <a:pPr indent="0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Font typeface="+mj-lt"/>
                <a:buNone/>
              </a:pPr>
              <a:r>
                <a:rPr lang="en-US" altLang="zh-CN" sz="3200" u="none">
                  <a:latin typeface="+mj-lt"/>
                  <a:ea typeface="+mj-ea"/>
                  <a:cs typeface="+mj-cs"/>
                  <a:sym typeface="+mn-lt"/>
                </a:rPr>
                <a:t>·</a:t>
              </a:r>
              <a:r>
                <a:rPr lang="zh-CN" altLang="en-US" sz="3200" u="none">
                  <a:latin typeface="+mj-lt"/>
                  <a:ea typeface="+mj-ea"/>
                  <a:cs typeface="+mj-cs"/>
                  <a:sym typeface="+mn-lt"/>
                </a:rPr>
                <a:t>特征</a:t>
              </a:r>
              <a:r>
                <a:rPr lang="zh-CN" altLang="en-US" sz="2800" u="none" dirty="0">
                  <a:solidFill>
                    <a:srgbClr val="000000"/>
                  </a:solidFill>
                  <a:latin typeface="宋体" panose="02010600030101010101" pitchFamily="2" charset="-122"/>
                  <a:ea typeface="宋体" panose="02010600030101010101" pitchFamily="2" charset="-122"/>
                  <a:sym typeface="+mn-lt"/>
                </a:rPr>
                <a:t>：</a:t>
              </a:r>
              <a:endParaRPr lang="zh-CN" altLang="en-US" sz="2800" u="none" dirty="0">
                <a:solidFill>
                  <a:srgbClr val="00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+mj-cs"/>
                <a:sym typeface="+mn-lt"/>
              </a:endParaRPr>
            </a:p>
          </p:txBody>
        </p:sp>
        <p:sp>
          <p:nvSpPr>
            <p:cNvPr id="9" name="išľïḋé"/>
            <p:cNvSpPr txBox="1"/>
            <p:nvPr/>
          </p:nvSpPr>
          <p:spPr>
            <a:xfrm>
              <a:off x="1175743" y="1780800"/>
              <a:ext cx="2057230" cy="250600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</a:pPr>
              <a:endParaRPr lang="tr-TR" b="1" u="none" dirty="0">
                <a:solidFill>
                  <a:srgbClr val="00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+mn-ea"/>
                <a:sym typeface="+mn-lt"/>
              </a:endParaRPr>
            </a:p>
          </p:txBody>
        </p:sp>
      </p:grpSp>
      <p:sp>
        <p:nvSpPr>
          <p:cNvPr id="4" name="文本框 3"/>
          <p:cNvSpPr txBox="1"/>
          <p:nvPr/>
        </p:nvSpPr>
        <p:spPr>
          <a:xfrm>
            <a:off x="2074545" y="2182495"/>
            <a:ext cx="9096375" cy="58356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en-US" altLang="zh-CN" sz="3200" b="1">
                <a:latin typeface="+mj-lt"/>
                <a:ea typeface="+mj-ea"/>
                <a:cs typeface="+mj-cs"/>
                <a:sym typeface="+mn-lt"/>
              </a:rPr>
              <a:t>·</a:t>
            </a:r>
            <a:r>
              <a:rPr lang="zh-CN" altLang="en-US" sz="3200" b="1">
                <a:latin typeface="+mj-lt"/>
                <a:ea typeface="+mj-ea"/>
                <a:cs typeface="+mj-cs"/>
                <a:sym typeface="+mn-lt"/>
              </a:rPr>
              <a:t>常见题型：</a:t>
            </a:r>
            <a:endParaRPr lang="zh-CN" altLang="en-US" sz="3200" b="1" u="none">
              <a:latin typeface="+mj-lt"/>
              <a:ea typeface="+mj-ea"/>
              <a:cs typeface="+mj-cs"/>
              <a:sym typeface="+mn-lt"/>
            </a:endParaRPr>
          </a:p>
        </p:txBody>
      </p:sp>
      <p:cxnSp>
        <p:nvCxnSpPr>
          <p:cNvPr id="11" name="直接连接符 10"/>
          <p:cNvCxnSpPr/>
          <p:nvPr/>
        </p:nvCxnSpPr>
        <p:spPr>
          <a:xfrm flipH="1">
            <a:off x="1907015" y="690880"/>
            <a:ext cx="9610" cy="5430515"/>
          </a:xfrm>
          <a:prstGeom prst="line">
            <a:avLst/>
          </a:prstGeom>
          <a:solidFill>
            <a:srgbClr val="FFCC00"/>
          </a:solidFill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2" name="poetry_91022"/>
          <p:cNvSpPr>
            <a:spLocks noChangeAspect="1"/>
          </p:cNvSpPr>
          <p:nvPr/>
        </p:nvSpPr>
        <p:spPr bwMode="auto">
          <a:xfrm>
            <a:off x="469265" y="5129001"/>
            <a:ext cx="898119" cy="1241320"/>
          </a:xfrm>
          <a:custGeom>
            <a:avLst/>
            <a:gdLst>
              <a:gd name="T0" fmla="*/ 3353 w 5127"/>
              <a:gd name="T1" fmla="*/ 1728 h 5401"/>
              <a:gd name="T2" fmla="*/ 2183 w 5127"/>
              <a:gd name="T3" fmla="*/ 1608 h 5401"/>
              <a:gd name="T4" fmla="*/ 3353 w 5127"/>
              <a:gd name="T5" fmla="*/ 1488 h 5401"/>
              <a:gd name="T6" fmla="*/ 3103 w 5127"/>
              <a:gd name="T7" fmla="*/ 2231 h 5401"/>
              <a:gd name="T8" fmla="*/ 3103 w 5127"/>
              <a:gd name="T9" fmla="*/ 1991 h 5401"/>
              <a:gd name="T10" fmla="*/ 2432 w 5127"/>
              <a:gd name="T11" fmla="*/ 2111 h 5401"/>
              <a:gd name="T12" fmla="*/ 3103 w 5127"/>
              <a:gd name="T13" fmla="*/ 2231 h 5401"/>
              <a:gd name="T14" fmla="*/ 3353 w 5127"/>
              <a:gd name="T15" fmla="*/ 2648 h 5401"/>
              <a:gd name="T16" fmla="*/ 2183 w 5127"/>
              <a:gd name="T17" fmla="*/ 2768 h 5401"/>
              <a:gd name="T18" fmla="*/ 3353 w 5127"/>
              <a:gd name="T19" fmla="*/ 2888 h 5401"/>
              <a:gd name="T20" fmla="*/ 2552 w 5127"/>
              <a:gd name="T21" fmla="*/ 3151 h 5401"/>
              <a:gd name="T22" fmla="*/ 2552 w 5127"/>
              <a:gd name="T23" fmla="*/ 3391 h 5401"/>
              <a:gd name="T24" fmla="*/ 3223 w 5127"/>
              <a:gd name="T25" fmla="*/ 3271 h 5401"/>
              <a:gd name="T26" fmla="*/ 2552 w 5127"/>
              <a:gd name="T27" fmla="*/ 3151 h 5401"/>
              <a:gd name="T28" fmla="*/ 4448 w 5127"/>
              <a:gd name="T29" fmla="*/ 1442 h 5401"/>
              <a:gd name="T30" fmla="*/ 4688 w 5127"/>
              <a:gd name="T31" fmla="*/ 1442 h 5401"/>
              <a:gd name="T32" fmla="*/ 3988 w 5127"/>
              <a:gd name="T33" fmla="*/ 0 h 5401"/>
              <a:gd name="T34" fmla="*/ 0 w 5127"/>
              <a:gd name="T35" fmla="*/ 604 h 5401"/>
              <a:gd name="T36" fmla="*/ 120 w 5127"/>
              <a:gd name="T37" fmla="*/ 1792 h 5401"/>
              <a:gd name="T38" fmla="*/ 686 w 5127"/>
              <a:gd name="T39" fmla="*/ 1672 h 5401"/>
              <a:gd name="T40" fmla="*/ 240 w 5127"/>
              <a:gd name="T41" fmla="*/ 1552 h 5401"/>
              <a:gd name="T42" fmla="*/ 604 w 5127"/>
              <a:gd name="T43" fmla="*/ 240 h 5401"/>
              <a:gd name="T44" fmla="*/ 968 w 5127"/>
              <a:gd name="T45" fmla="*/ 4179 h 5401"/>
              <a:gd name="T46" fmla="*/ 3904 w 5127"/>
              <a:gd name="T47" fmla="*/ 4879 h 5401"/>
              <a:gd name="T48" fmla="*/ 3904 w 5127"/>
              <a:gd name="T49" fmla="*/ 4639 h 5401"/>
              <a:gd name="T50" fmla="*/ 1208 w 5127"/>
              <a:gd name="T51" fmla="*/ 4179 h 5401"/>
              <a:gd name="T52" fmla="*/ 1086 w 5127"/>
              <a:gd name="T53" fmla="*/ 240 h 5401"/>
              <a:gd name="T54" fmla="*/ 4448 w 5127"/>
              <a:gd name="T55" fmla="*/ 700 h 5401"/>
              <a:gd name="T56" fmla="*/ 4568 w 5127"/>
              <a:gd name="T57" fmla="*/ 2000 h 5401"/>
              <a:gd name="T58" fmla="*/ 4568 w 5127"/>
              <a:gd name="T59" fmla="*/ 2240 h 5401"/>
              <a:gd name="T60" fmla="*/ 4887 w 5127"/>
              <a:gd name="T61" fmla="*/ 2340 h 5401"/>
              <a:gd name="T62" fmla="*/ 5007 w 5127"/>
              <a:gd name="T63" fmla="*/ 3838 h 5401"/>
              <a:gd name="T64" fmla="*/ 5127 w 5127"/>
              <a:gd name="T65" fmla="*/ 2340 h 5401"/>
              <a:gd name="T66" fmla="*/ 4568 w 5127"/>
              <a:gd name="T67" fmla="*/ 5139 h 5401"/>
              <a:gd name="T68" fmla="*/ 4448 w 5127"/>
              <a:gd name="T69" fmla="*/ 5281 h 5401"/>
              <a:gd name="T70" fmla="*/ 4688 w 5127"/>
              <a:gd name="T71" fmla="*/ 5281 h 5401"/>
              <a:gd name="T72" fmla="*/ 4568 w 5127"/>
              <a:gd name="T73" fmla="*/ 5139 h 5401"/>
              <a:gd name="T74" fmla="*/ 4448 w 5127"/>
              <a:gd name="T75" fmla="*/ 2559 h 5401"/>
              <a:gd name="T76" fmla="*/ 4568 w 5127"/>
              <a:gd name="T77" fmla="*/ 4974 h 5401"/>
              <a:gd name="T78" fmla="*/ 4688 w 5127"/>
              <a:gd name="T79" fmla="*/ 2559 h 54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5127" h="5401">
                <a:moveTo>
                  <a:pt x="3473" y="1608"/>
                </a:moveTo>
                <a:cubicBezTo>
                  <a:pt x="3473" y="1674"/>
                  <a:pt x="3419" y="1728"/>
                  <a:pt x="3353" y="1728"/>
                </a:cubicBezTo>
                <a:lnTo>
                  <a:pt x="2303" y="1728"/>
                </a:lnTo>
                <a:cubicBezTo>
                  <a:pt x="2236" y="1728"/>
                  <a:pt x="2183" y="1674"/>
                  <a:pt x="2183" y="1608"/>
                </a:cubicBezTo>
                <a:cubicBezTo>
                  <a:pt x="2183" y="1542"/>
                  <a:pt x="2236" y="1488"/>
                  <a:pt x="2303" y="1488"/>
                </a:cubicBezTo>
                <a:lnTo>
                  <a:pt x="3353" y="1488"/>
                </a:lnTo>
                <a:cubicBezTo>
                  <a:pt x="3419" y="1488"/>
                  <a:pt x="3473" y="1542"/>
                  <a:pt x="3473" y="1608"/>
                </a:cubicBezTo>
                <a:close/>
                <a:moveTo>
                  <a:pt x="3103" y="2231"/>
                </a:moveTo>
                <a:cubicBezTo>
                  <a:pt x="3170" y="2231"/>
                  <a:pt x="3223" y="2178"/>
                  <a:pt x="3223" y="2111"/>
                </a:cubicBezTo>
                <a:cubicBezTo>
                  <a:pt x="3223" y="2045"/>
                  <a:pt x="3170" y="1991"/>
                  <a:pt x="3103" y="1991"/>
                </a:cubicBezTo>
                <a:lnTo>
                  <a:pt x="2552" y="1991"/>
                </a:lnTo>
                <a:cubicBezTo>
                  <a:pt x="2486" y="1991"/>
                  <a:pt x="2432" y="2045"/>
                  <a:pt x="2432" y="2111"/>
                </a:cubicBezTo>
                <a:cubicBezTo>
                  <a:pt x="2432" y="2178"/>
                  <a:pt x="2486" y="2231"/>
                  <a:pt x="2552" y="2231"/>
                </a:cubicBezTo>
                <a:lnTo>
                  <a:pt x="3103" y="2231"/>
                </a:lnTo>
                <a:close/>
                <a:moveTo>
                  <a:pt x="3473" y="2768"/>
                </a:moveTo>
                <a:cubicBezTo>
                  <a:pt x="3473" y="2701"/>
                  <a:pt x="3419" y="2648"/>
                  <a:pt x="3353" y="2648"/>
                </a:cubicBezTo>
                <a:lnTo>
                  <a:pt x="2303" y="2648"/>
                </a:lnTo>
                <a:cubicBezTo>
                  <a:pt x="2236" y="2648"/>
                  <a:pt x="2183" y="2701"/>
                  <a:pt x="2183" y="2768"/>
                </a:cubicBezTo>
                <a:cubicBezTo>
                  <a:pt x="2183" y="2834"/>
                  <a:pt x="2236" y="2888"/>
                  <a:pt x="2303" y="2888"/>
                </a:cubicBezTo>
                <a:lnTo>
                  <a:pt x="3353" y="2888"/>
                </a:lnTo>
                <a:cubicBezTo>
                  <a:pt x="3419" y="2888"/>
                  <a:pt x="3473" y="2834"/>
                  <a:pt x="3473" y="2768"/>
                </a:cubicBezTo>
                <a:close/>
                <a:moveTo>
                  <a:pt x="2552" y="3151"/>
                </a:moveTo>
                <a:cubicBezTo>
                  <a:pt x="2486" y="3151"/>
                  <a:pt x="2432" y="3205"/>
                  <a:pt x="2432" y="3271"/>
                </a:cubicBezTo>
                <a:cubicBezTo>
                  <a:pt x="2432" y="3338"/>
                  <a:pt x="2486" y="3391"/>
                  <a:pt x="2552" y="3391"/>
                </a:cubicBezTo>
                <a:lnTo>
                  <a:pt x="3103" y="3391"/>
                </a:lnTo>
                <a:cubicBezTo>
                  <a:pt x="3170" y="3391"/>
                  <a:pt x="3223" y="3338"/>
                  <a:pt x="3223" y="3271"/>
                </a:cubicBezTo>
                <a:cubicBezTo>
                  <a:pt x="3223" y="3205"/>
                  <a:pt x="3170" y="3151"/>
                  <a:pt x="3103" y="3151"/>
                </a:cubicBezTo>
                <a:lnTo>
                  <a:pt x="2552" y="3151"/>
                </a:lnTo>
                <a:close/>
                <a:moveTo>
                  <a:pt x="4448" y="700"/>
                </a:moveTo>
                <a:lnTo>
                  <a:pt x="4448" y="1442"/>
                </a:lnTo>
                <a:cubicBezTo>
                  <a:pt x="4448" y="1509"/>
                  <a:pt x="4501" y="1562"/>
                  <a:pt x="4568" y="1562"/>
                </a:cubicBezTo>
                <a:cubicBezTo>
                  <a:pt x="4634" y="1562"/>
                  <a:pt x="4688" y="1509"/>
                  <a:pt x="4688" y="1442"/>
                </a:cubicBezTo>
                <a:lnTo>
                  <a:pt x="4688" y="700"/>
                </a:lnTo>
                <a:cubicBezTo>
                  <a:pt x="4688" y="314"/>
                  <a:pt x="4374" y="0"/>
                  <a:pt x="3988" y="0"/>
                </a:cubicBezTo>
                <a:lnTo>
                  <a:pt x="604" y="0"/>
                </a:lnTo>
                <a:cubicBezTo>
                  <a:pt x="271" y="0"/>
                  <a:pt x="0" y="271"/>
                  <a:pt x="0" y="604"/>
                </a:cubicBezTo>
                <a:lnTo>
                  <a:pt x="0" y="1672"/>
                </a:lnTo>
                <a:cubicBezTo>
                  <a:pt x="0" y="1738"/>
                  <a:pt x="53" y="1792"/>
                  <a:pt x="120" y="1792"/>
                </a:cubicBezTo>
                <a:lnTo>
                  <a:pt x="566" y="1792"/>
                </a:lnTo>
                <a:cubicBezTo>
                  <a:pt x="632" y="1792"/>
                  <a:pt x="686" y="1738"/>
                  <a:pt x="686" y="1672"/>
                </a:cubicBezTo>
                <a:cubicBezTo>
                  <a:pt x="686" y="1606"/>
                  <a:pt x="632" y="1552"/>
                  <a:pt x="566" y="1552"/>
                </a:cubicBezTo>
                <a:lnTo>
                  <a:pt x="240" y="1552"/>
                </a:lnTo>
                <a:lnTo>
                  <a:pt x="240" y="604"/>
                </a:lnTo>
                <a:cubicBezTo>
                  <a:pt x="240" y="403"/>
                  <a:pt x="403" y="240"/>
                  <a:pt x="604" y="240"/>
                </a:cubicBezTo>
                <a:cubicBezTo>
                  <a:pt x="805" y="240"/>
                  <a:pt x="968" y="403"/>
                  <a:pt x="968" y="604"/>
                </a:cubicBezTo>
                <a:lnTo>
                  <a:pt x="968" y="4179"/>
                </a:lnTo>
                <a:cubicBezTo>
                  <a:pt x="968" y="4565"/>
                  <a:pt x="1282" y="4879"/>
                  <a:pt x="1668" y="4879"/>
                </a:cubicBezTo>
                <a:lnTo>
                  <a:pt x="3904" y="4879"/>
                </a:lnTo>
                <a:cubicBezTo>
                  <a:pt x="3970" y="4879"/>
                  <a:pt x="4024" y="4825"/>
                  <a:pt x="4024" y="4759"/>
                </a:cubicBezTo>
                <a:cubicBezTo>
                  <a:pt x="4024" y="4693"/>
                  <a:pt x="3970" y="4639"/>
                  <a:pt x="3904" y="4639"/>
                </a:cubicBezTo>
                <a:lnTo>
                  <a:pt x="1668" y="4639"/>
                </a:lnTo>
                <a:cubicBezTo>
                  <a:pt x="1415" y="4639"/>
                  <a:pt x="1208" y="4433"/>
                  <a:pt x="1208" y="4179"/>
                </a:cubicBezTo>
                <a:lnTo>
                  <a:pt x="1208" y="604"/>
                </a:lnTo>
                <a:cubicBezTo>
                  <a:pt x="1208" y="468"/>
                  <a:pt x="1163" y="341"/>
                  <a:pt x="1086" y="240"/>
                </a:cubicBezTo>
                <a:lnTo>
                  <a:pt x="3988" y="240"/>
                </a:lnTo>
                <a:cubicBezTo>
                  <a:pt x="4241" y="240"/>
                  <a:pt x="4448" y="446"/>
                  <a:pt x="4448" y="700"/>
                </a:cubicBezTo>
                <a:close/>
                <a:moveTo>
                  <a:pt x="4787" y="2000"/>
                </a:moveTo>
                <a:lnTo>
                  <a:pt x="4568" y="2000"/>
                </a:lnTo>
                <a:cubicBezTo>
                  <a:pt x="4501" y="2000"/>
                  <a:pt x="4448" y="2054"/>
                  <a:pt x="4448" y="2120"/>
                </a:cubicBezTo>
                <a:cubicBezTo>
                  <a:pt x="4448" y="2187"/>
                  <a:pt x="4501" y="2240"/>
                  <a:pt x="4568" y="2240"/>
                </a:cubicBezTo>
                <a:lnTo>
                  <a:pt x="4787" y="2240"/>
                </a:lnTo>
                <a:cubicBezTo>
                  <a:pt x="4842" y="2240"/>
                  <a:pt x="4887" y="2285"/>
                  <a:pt x="4887" y="2340"/>
                </a:cubicBezTo>
                <a:lnTo>
                  <a:pt x="4887" y="3718"/>
                </a:lnTo>
                <a:cubicBezTo>
                  <a:pt x="4887" y="3785"/>
                  <a:pt x="4941" y="3838"/>
                  <a:pt x="5007" y="3838"/>
                </a:cubicBezTo>
                <a:cubicBezTo>
                  <a:pt x="5073" y="3838"/>
                  <a:pt x="5127" y="3785"/>
                  <a:pt x="5127" y="3718"/>
                </a:cubicBezTo>
                <a:lnTo>
                  <a:pt x="5127" y="2340"/>
                </a:lnTo>
                <a:cubicBezTo>
                  <a:pt x="5127" y="2153"/>
                  <a:pt x="4975" y="2000"/>
                  <a:pt x="4787" y="2000"/>
                </a:cubicBezTo>
                <a:close/>
                <a:moveTo>
                  <a:pt x="4568" y="5139"/>
                </a:moveTo>
                <a:cubicBezTo>
                  <a:pt x="4501" y="5139"/>
                  <a:pt x="4448" y="5193"/>
                  <a:pt x="4448" y="5259"/>
                </a:cubicBezTo>
                <a:lnTo>
                  <a:pt x="4448" y="5281"/>
                </a:lnTo>
                <a:cubicBezTo>
                  <a:pt x="4448" y="5347"/>
                  <a:pt x="4501" y="5401"/>
                  <a:pt x="4568" y="5401"/>
                </a:cubicBezTo>
                <a:cubicBezTo>
                  <a:pt x="4634" y="5401"/>
                  <a:pt x="4688" y="5347"/>
                  <a:pt x="4688" y="5281"/>
                </a:cubicBezTo>
                <a:lnTo>
                  <a:pt x="4688" y="5259"/>
                </a:lnTo>
                <a:cubicBezTo>
                  <a:pt x="4688" y="5193"/>
                  <a:pt x="4634" y="5139"/>
                  <a:pt x="4568" y="5139"/>
                </a:cubicBezTo>
                <a:close/>
                <a:moveTo>
                  <a:pt x="4568" y="2439"/>
                </a:moveTo>
                <a:cubicBezTo>
                  <a:pt x="4501" y="2439"/>
                  <a:pt x="4448" y="2492"/>
                  <a:pt x="4448" y="2559"/>
                </a:cubicBezTo>
                <a:lnTo>
                  <a:pt x="4448" y="4854"/>
                </a:lnTo>
                <a:cubicBezTo>
                  <a:pt x="4448" y="4920"/>
                  <a:pt x="4501" y="4974"/>
                  <a:pt x="4568" y="4974"/>
                </a:cubicBezTo>
                <a:cubicBezTo>
                  <a:pt x="4634" y="4974"/>
                  <a:pt x="4688" y="4920"/>
                  <a:pt x="4688" y="4854"/>
                </a:cubicBezTo>
                <a:lnTo>
                  <a:pt x="4688" y="2559"/>
                </a:lnTo>
                <a:cubicBezTo>
                  <a:pt x="4688" y="2492"/>
                  <a:pt x="4634" y="2439"/>
                  <a:pt x="4568" y="2439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txBody>
          <a:bodyPr/>
          <a:p>
            <a:endParaRPr lang="zh-CN" altLang="en-US" sz="1350">
              <a:cs typeface="+mn-ea"/>
              <a:sym typeface="+mn-lt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630555" y="1323975"/>
            <a:ext cx="736600" cy="2301240"/>
          </a:xfrm>
          <a:prstGeom prst="rect">
            <a:avLst/>
          </a:prstGeom>
          <a:noFill/>
        </p:spPr>
        <p:txBody>
          <a:bodyPr vert="eaVert" wrap="none" rtlCol="0">
            <a:spAutoFit/>
          </a:bodyPr>
          <a:p>
            <a:pPr algn="l"/>
            <a:r>
              <a:rPr lang="zh-CN" altLang="en-US" sz="3600"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sym typeface="+mn-ea"/>
              </a:rPr>
              <a:t>考 查 形 式</a:t>
            </a:r>
            <a:endParaRPr lang="zh-CN" altLang="en-US" sz="3600"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sym typeface="+mn-ea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4103370" y="1526540"/>
            <a:ext cx="6320155" cy="58356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 algn="l"/>
            <a:r>
              <a:rPr lang="zh-CN" altLang="en-US" sz="3200" b="1">
                <a:latin typeface="宋体" panose="02010600030101010101" pitchFamily="2" charset="-122"/>
                <a:ea typeface="宋体" panose="02010600030101010101" pitchFamily="2" charset="-122"/>
              </a:rPr>
              <a:t>问题解法灵活，综合性强</a:t>
            </a:r>
            <a:endParaRPr lang="zh-CN" altLang="en-US" sz="3200" b="1">
              <a:latin typeface="宋体" panose="02010600030101010101" pitchFamily="2" charset="-122"/>
              <a:ea typeface="宋体" panose="02010600030101010101" pitchFamily="2" charset="-122"/>
            </a:endParaRPr>
          </a:p>
        </p:txBody>
      </p:sp>
      <p:sp>
        <p:nvSpPr>
          <p:cNvPr id="8" name="文本框 7"/>
          <p:cNvSpPr txBox="1"/>
          <p:nvPr/>
        </p:nvSpPr>
        <p:spPr>
          <a:xfrm>
            <a:off x="4103370" y="2766060"/>
            <a:ext cx="7082790" cy="156845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 sz="3200" b="1">
                <a:latin typeface="宋体" panose="02010600030101010101" pitchFamily="2" charset="-122"/>
                <a:ea typeface="宋体" panose="02010600030101010101" pitchFamily="2" charset="-122"/>
              </a:rPr>
              <a:t>函数零点的个数问题</a:t>
            </a:r>
            <a:endParaRPr lang="zh-CN" altLang="en-US" sz="3200" b="1">
              <a:latin typeface="宋体" panose="02010600030101010101" pitchFamily="2" charset="-122"/>
              <a:ea typeface="宋体" panose="02010600030101010101" pitchFamily="2" charset="-122"/>
            </a:endParaRPr>
          </a:p>
          <a:p>
            <a:r>
              <a:rPr lang="zh-CN" altLang="en-US" sz="3200" b="1">
                <a:latin typeface="宋体" panose="02010600030101010101" pitchFamily="2" charset="-122"/>
                <a:ea typeface="宋体" panose="02010600030101010101" pitchFamily="2" charset="-122"/>
              </a:rPr>
              <a:t>已知零点的个数求参数的范围</a:t>
            </a:r>
            <a:endParaRPr lang="zh-CN" altLang="en-US" sz="3200" b="1">
              <a:latin typeface="宋体" panose="02010600030101010101" pitchFamily="2" charset="-122"/>
              <a:ea typeface="宋体" panose="02010600030101010101" pitchFamily="2" charset="-122"/>
            </a:endParaRPr>
          </a:p>
          <a:p>
            <a:r>
              <a:rPr lang="zh-CN" altLang="en-US" sz="3200" b="1">
                <a:latin typeface="宋体" panose="02010600030101010101" pitchFamily="2" charset="-122"/>
                <a:ea typeface="宋体" panose="02010600030101010101" pitchFamily="2" charset="-122"/>
              </a:rPr>
              <a:t>零点的位置、近似解问题</a:t>
            </a:r>
            <a:endParaRPr lang="zh-CN" altLang="en-US" sz="3200" b="1">
              <a:latin typeface="宋体" panose="02010600030101010101" pitchFamily="2" charset="-122"/>
              <a:ea typeface="宋体" panose="02010600030101010101" pitchFamily="2" charset="-122"/>
            </a:endParaRPr>
          </a:p>
        </p:txBody>
      </p:sp>
      <p:sp>
        <p:nvSpPr>
          <p:cNvPr id="45" name="文本框 44"/>
          <p:cNvSpPr txBox="1"/>
          <p:nvPr/>
        </p:nvSpPr>
        <p:spPr>
          <a:xfrm>
            <a:off x="2074545" y="4222115"/>
            <a:ext cx="9096375" cy="58356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en-US" altLang="zh-CN" sz="3200" b="1">
                <a:latin typeface="+mj-lt"/>
                <a:ea typeface="+mj-ea"/>
                <a:cs typeface="+mj-cs"/>
                <a:sym typeface="+mn-lt"/>
              </a:rPr>
              <a:t>·</a:t>
            </a:r>
            <a:r>
              <a:rPr lang="zh-CN" altLang="en-US" sz="3200" b="1">
                <a:latin typeface="+mj-lt"/>
                <a:ea typeface="+mj-ea"/>
                <a:cs typeface="+mj-cs"/>
                <a:sym typeface="+mn-lt"/>
              </a:rPr>
              <a:t>方法运用：</a:t>
            </a:r>
            <a:endParaRPr lang="zh-CN" altLang="en-US" sz="3200" b="1" u="none">
              <a:latin typeface="+mj-lt"/>
              <a:ea typeface="+mj-ea"/>
              <a:cs typeface="+mj-cs"/>
              <a:sym typeface="+mn-lt"/>
            </a:endParaRPr>
          </a:p>
        </p:txBody>
      </p:sp>
      <p:sp>
        <p:nvSpPr>
          <p:cNvPr id="70" name="文本框 69"/>
          <p:cNvSpPr txBox="1"/>
          <p:nvPr/>
        </p:nvSpPr>
        <p:spPr>
          <a:xfrm>
            <a:off x="4103370" y="4904740"/>
            <a:ext cx="7858760" cy="58356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 sz="3200" b="1" u="none">
                <a:latin typeface="宋体" panose="02010600030101010101" pitchFamily="2" charset="-122"/>
                <a:ea typeface="宋体" panose="02010600030101010101" pitchFamily="2" charset="-122"/>
                <a:cs typeface="+mj-cs"/>
                <a:sym typeface="+mn-lt"/>
              </a:rPr>
              <a:t>转化、函数与方程、数形结合</a:t>
            </a:r>
            <a:endParaRPr lang="zh-CN" altLang="en-US" sz="3200" b="1" u="none">
              <a:latin typeface="宋体" panose="02010600030101010101" pitchFamily="2" charset="-122"/>
              <a:ea typeface="宋体" panose="02010600030101010101" pitchFamily="2" charset="-122"/>
              <a:cs typeface="+mj-cs"/>
              <a:sym typeface="+mn-lt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8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amond(in)">
                                      <p:cBhvr>
                                        <p:cTn id="7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2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2" dur="2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8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amond(in)">
                                      <p:cBhvr>
                                        <p:cTn id="17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3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2" dur="3000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left)">
                                      <p:cBhvr>
                                        <p:cTn id="23" dur="3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8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amond(in)">
                                      <p:cBhvr>
                                        <p:cTn id="28" dur="10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8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amond(in)">
                                      <p:cBhvr>
                                        <p:cTn id="33" dur="10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45" grpId="0"/>
      <p:bldP spid="70" grpId="0"/>
      <p:bldP spid="3" grpId="0"/>
      <p:bldP spid="8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>
          <a:xfrm>
            <a:off x="3797977" y="2794014"/>
            <a:ext cx="5419185" cy="895350"/>
          </a:xfrm>
        </p:spPr>
        <p:txBody>
          <a:bodyPr/>
          <a:lstStyle/>
          <a:p>
            <a:r>
              <a:rPr lang="zh-CN" altLang="en-US" sz="3600"/>
              <a:t>典例精析</a:t>
            </a:r>
            <a:endParaRPr lang="zh-CN" altLang="en-US" sz="3600" dirty="0"/>
          </a:p>
        </p:txBody>
      </p:sp>
      <p:sp>
        <p:nvSpPr>
          <p:cNvPr id="9" name="文本框 8"/>
          <p:cNvSpPr txBox="1"/>
          <p:nvPr/>
        </p:nvSpPr>
        <p:spPr>
          <a:xfrm>
            <a:off x="3030062" y="2643188"/>
            <a:ext cx="767637" cy="667432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pPr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</a:pPr>
            <a:r>
              <a:rPr lang="en-US" altLang="zh-CN" b="1" u="none" spc="100" dirty="0">
                <a:solidFill>
                  <a:srgbClr val="00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Arial" panose="020B0604020202020204" pitchFamily="34" charset="0"/>
              </a:rPr>
              <a:t>/02</a:t>
            </a:r>
            <a:endParaRPr lang="en-US" altLang="zh-CN" b="1" u="none" spc="100" dirty="0">
              <a:solidFill>
                <a:srgbClr val="000000"/>
              </a:solidFill>
              <a:latin typeface="宋体" panose="02010600030101010101" pitchFamily="2" charset="-122"/>
              <a:ea typeface="宋体" panose="02010600030101010101" pitchFamily="2" charset="-122"/>
              <a:cs typeface="Arial" panose="020B0604020202020204" pitchFamily="34" charset="0"/>
            </a:endParaRPr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五边形 3"/>
          <p:cNvSpPr/>
          <p:nvPr/>
        </p:nvSpPr>
        <p:spPr>
          <a:xfrm>
            <a:off x="589915" y="404495"/>
            <a:ext cx="2465070" cy="619125"/>
          </a:xfrm>
          <a:prstGeom prst="homePlat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/>
              <a:t>典型例题</a:t>
            </a:r>
            <a:r>
              <a:rPr lang="en-US" altLang="zh-CN"/>
              <a:t>1</a:t>
            </a:r>
            <a:endParaRPr lang="en-US" altLang="zh-CN"/>
          </a:p>
        </p:txBody>
      </p:sp>
      <p:pic>
        <p:nvPicPr>
          <p:cNvPr id="8" name="图片 7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1638935" y="1115060"/>
            <a:ext cx="8446770" cy="2085340"/>
          </a:xfrm>
          <a:prstGeom prst="rect">
            <a:avLst/>
          </a:prstGeom>
        </p:spPr>
      </p:pic>
      <p:sp>
        <p:nvSpPr>
          <p:cNvPr id="9" name="three-books_73757"/>
          <p:cNvSpPr>
            <a:spLocks noChangeAspect="1"/>
          </p:cNvSpPr>
          <p:nvPr/>
        </p:nvSpPr>
        <p:spPr bwMode="auto">
          <a:xfrm>
            <a:off x="11582358" y="6383442"/>
            <a:ext cx="609685" cy="474136"/>
          </a:xfrm>
          <a:custGeom>
            <a:avLst/>
            <a:gdLst>
              <a:gd name="T0" fmla="*/ 2471 w 2903"/>
              <a:gd name="T1" fmla="*/ 1598 h 2261"/>
              <a:gd name="T2" fmla="*/ 2471 w 2903"/>
              <a:gd name="T3" fmla="*/ 2127 h 2261"/>
              <a:gd name="T4" fmla="*/ 2505 w 2903"/>
              <a:gd name="T5" fmla="*/ 2127 h 2261"/>
              <a:gd name="T6" fmla="*/ 2572 w 2903"/>
              <a:gd name="T7" fmla="*/ 2194 h 2261"/>
              <a:gd name="T8" fmla="*/ 2505 w 2903"/>
              <a:gd name="T9" fmla="*/ 2261 h 2261"/>
              <a:gd name="T10" fmla="*/ 2405 w 2903"/>
              <a:gd name="T11" fmla="*/ 2261 h 2261"/>
              <a:gd name="T12" fmla="*/ 2124 w 2903"/>
              <a:gd name="T13" fmla="*/ 2261 h 2261"/>
              <a:gd name="T14" fmla="*/ 398 w 2903"/>
              <a:gd name="T15" fmla="*/ 2261 h 2261"/>
              <a:gd name="T16" fmla="*/ 0 w 2903"/>
              <a:gd name="T17" fmla="*/ 1863 h 2261"/>
              <a:gd name="T18" fmla="*/ 398 w 2903"/>
              <a:gd name="T19" fmla="*/ 1465 h 2261"/>
              <a:gd name="T20" fmla="*/ 2124 w 2903"/>
              <a:gd name="T21" fmla="*/ 1465 h 2261"/>
              <a:gd name="T22" fmla="*/ 2405 w 2903"/>
              <a:gd name="T23" fmla="*/ 1465 h 2261"/>
              <a:gd name="T24" fmla="*/ 2505 w 2903"/>
              <a:gd name="T25" fmla="*/ 1465 h 2261"/>
              <a:gd name="T26" fmla="*/ 2572 w 2903"/>
              <a:gd name="T27" fmla="*/ 1532 h 2261"/>
              <a:gd name="T28" fmla="*/ 2505 w 2903"/>
              <a:gd name="T29" fmla="*/ 1598 h 2261"/>
              <a:gd name="T30" fmla="*/ 2471 w 2903"/>
              <a:gd name="T31" fmla="*/ 1598 h 2261"/>
              <a:gd name="T32" fmla="*/ 2836 w 2903"/>
              <a:gd name="T33" fmla="*/ 1195 h 2261"/>
              <a:gd name="T34" fmla="*/ 2786 w 2903"/>
              <a:gd name="T35" fmla="*/ 1195 h 2261"/>
              <a:gd name="T36" fmla="*/ 2786 w 2903"/>
              <a:gd name="T37" fmla="*/ 786 h 2261"/>
              <a:gd name="T38" fmla="*/ 2836 w 2903"/>
              <a:gd name="T39" fmla="*/ 786 h 2261"/>
              <a:gd name="T40" fmla="*/ 2903 w 2903"/>
              <a:gd name="T41" fmla="*/ 720 h 2261"/>
              <a:gd name="T42" fmla="*/ 2836 w 2903"/>
              <a:gd name="T43" fmla="*/ 653 h 2261"/>
              <a:gd name="T44" fmla="*/ 2720 w 2903"/>
              <a:gd name="T45" fmla="*/ 653 h 2261"/>
              <a:gd name="T46" fmla="*/ 2455 w 2903"/>
              <a:gd name="T47" fmla="*/ 653 h 2261"/>
              <a:gd name="T48" fmla="*/ 1005 w 2903"/>
              <a:gd name="T49" fmla="*/ 653 h 2261"/>
              <a:gd name="T50" fmla="*/ 668 w 2903"/>
              <a:gd name="T51" fmla="*/ 991 h 2261"/>
              <a:gd name="T52" fmla="*/ 1005 w 2903"/>
              <a:gd name="T53" fmla="*/ 1328 h 2261"/>
              <a:gd name="T54" fmla="*/ 2455 w 2903"/>
              <a:gd name="T55" fmla="*/ 1328 h 2261"/>
              <a:gd name="T56" fmla="*/ 2720 w 2903"/>
              <a:gd name="T57" fmla="*/ 1328 h 2261"/>
              <a:gd name="T58" fmla="*/ 2836 w 2903"/>
              <a:gd name="T59" fmla="*/ 1328 h 2261"/>
              <a:gd name="T60" fmla="*/ 2903 w 2903"/>
              <a:gd name="T61" fmla="*/ 1262 h 2261"/>
              <a:gd name="T62" fmla="*/ 2836 w 2903"/>
              <a:gd name="T63" fmla="*/ 1195 h 2261"/>
              <a:gd name="T64" fmla="*/ 226 w 2903"/>
              <a:gd name="T65" fmla="*/ 405 h 2261"/>
              <a:gd name="T66" fmla="*/ 159 w 2903"/>
              <a:gd name="T67" fmla="*/ 472 h 2261"/>
              <a:gd name="T68" fmla="*/ 226 w 2903"/>
              <a:gd name="T69" fmla="*/ 539 h 2261"/>
              <a:gd name="T70" fmla="*/ 323 w 2903"/>
              <a:gd name="T71" fmla="*/ 539 h 2261"/>
              <a:gd name="T72" fmla="*/ 671 w 2903"/>
              <a:gd name="T73" fmla="*/ 539 h 2261"/>
              <a:gd name="T74" fmla="*/ 2248 w 2903"/>
              <a:gd name="T75" fmla="*/ 539 h 2261"/>
              <a:gd name="T76" fmla="*/ 2517 w 2903"/>
              <a:gd name="T77" fmla="*/ 269 h 2261"/>
              <a:gd name="T78" fmla="*/ 2248 w 2903"/>
              <a:gd name="T79" fmla="*/ 0 h 2261"/>
              <a:gd name="T80" fmla="*/ 671 w 2903"/>
              <a:gd name="T81" fmla="*/ 0 h 2261"/>
              <a:gd name="T82" fmla="*/ 323 w 2903"/>
              <a:gd name="T83" fmla="*/ 0 h 2261"/>
              <a:gd name="T84" fmla="*/ 226 w 2903"/>
              <a:gd name="T85" fmla="*/ 0 h 2261"/>
              <a:gd name="T86" fmla="*/ 159 w 2903"/>
              <a:gd name="T87" fmla="*/ 66 h 2261"/>
              <a:gd name="T88" fmla="*/ 226 w 2903"/>
              <a:gd name="T89" fmla="*/ 133 h 2261"/>
              <a:gd name="T90" fmla="*/ 257 w 2903"/>
              <a:gd name="T91" fmla="*/ 133 h 2261"/>
              <a:gd name="T92" fmla="*/ 257 w 2903"/>
              <a:gd name="T93" fmla="*/ 405 h 2261"/>
              <a:gd name="T94" fmla="*/ 226 w 2903"/>
              <a:gd name="T95" fmla="*/ 405 h 22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2903" h="2261">
                <a:moveTo>
                  <a:pt x="2471" y="1598"/>
                </a:moveTo>
                <a:lnTo>
                  <a:pt x="2471" y="2127"/>
                </a:lnTo>
                <a:lnTo>
                  <a:pt x="2505" y="2127"/>
                </a:lnTo>
                <a:cubicBezTo>
                  <a:pt x="2542" y="2127"/>
                  <a:pt x="2572" y="2157"/>
                  <a:pt x="2572" y="2194"/>
                </a:cubicBezTo>
                <a:cubicBezTo>
                  <a:pt x="2572" y="2231"/>
                  <a:pt x="2542" y="2261"/>
                  <a:pt x="2505" y="2261"/>
                </a:cubicBezTo>
                <a:lnTo>
                  <a:pt x="2405" y="2261"/>
                </a:lnTo>
                <a:lnTo>
                  <a:pt x="2124" y="2261"/>
                </a:lnTo>
                <a:lnTo>
                  <a:pt x="398" y="2261"/>
                </a:lnTo>
                <a:cubicBezTo>
                  <a:pt x="178" y="2261"/>
                  <a:pt x="0" y="2082"/>
                  <a:pt x="0" y="1863"/>
                </a:cubicBezTo>
                <a:cubicBezTo>
                  <a:pt x="0" y="1643"/>
                  <a:pt x="178" y="1465"/>
                  <a:pt x="398" y="1465"/>
                </a:cubicBezTo>
                <a:lnTo>
                  <a:pt x="2124" y="1465"/>
                </a:lnTo>
                <a:lnTo>
                  <a:pt x="2405" y="1465"/>
                </a:lnTo>
                <a:lnTo>
                  <a:pt x="2505" y="1465"/>
                </a:lnTo>
                <a:cubicBezTo>
                  <a:pt x="2542" y="1465"/>
                  <a:pt x="2572" y="1495"/>
                  <a:pt x="2572" y="1532"/>
                </a:cubicBezTo>
                <a:cubicBezTo>
                  <a:pt x="2572" y="1568"/>
                  <a:pt x="2542" y="1598"/>
                  <a:pt x="2505" y="1598"/>
                </a:cubicBezTo>
                <a:lnTo>
                  <a:pt x="2471" y="1598"/>
                </a:lnTo>
                <a:close/>
                <a:moveTo>
                  <a:pt x="2836" y="1195"/>
                </a:moveTo>
                <a:lnTo>
                  <a:pt x="2786" y="1195"/>
                </a:lnTo>
                <a:lnTo>
                  <a:pt x="2786" y="786"/>
                </a:lnTo>
                <a:lnTo>
                  <a:pt x="2836" y="786"/>
                </a:lnTo>
                <a:cubicBezTo>
                  <a:pt x="2873" y="786"/>
                  <a:pt x="2903" y="757"/>
                  <a:pt x="2903" y="720"/>
                </a:cubicBezTo>
                <a:cubicBezTo>
                  <a:pt x="2903" y="683"/>
                  <a:pt x="2873" y="653"/>
                  <a:pt x="2836" y="653"/>
                </a:cubicBezTo>
                <a:lnTo>
                  <a:pt x="2720" y="653"/>
                </a:lnTo>
                <a:lnTo>
                  <a:pt x="2455" y="653"/>
                </a:lnTo>
                <a:lnTo>
                  <a:pt x="1005" y="653"/>
                </a:lnTo>
                <a:cubicBezTo>
                  <a:pt x="819" y="653"/>
                  <a:pt x="668" y="805"/>
                  <a:pt x="668" y="991"/>
                </a:cubicBezTo>
                <a:cubicBezTo>
                  <a:pt x="668" y="1177"/>
                  <a:pt x="819" y="1328"/>
                  <a:pt x="1005" y="1328"/>
                </a:cubicBezTo>
                <a:lnTo>
                  <a:pt x="2455" y="1328"/>
                </a:lnTo>
                <a:lnTo>
                  <a:pt x="2720" y="1328"/>
                </a:lnTo>
                <a:lnTo>
                  <a:pt x="2836" y="1328"/>
                </a:lnTo>
                <a:cubicBezTo>
                  <a:pt x="2873" y="1328"/>
                  <a:pt x="2903" y="1299"/>
                  <a:pt x="2903" y="1262"/>
                </a:cubicBezTo>
                <a:cubicBezTo>
                  <a:pt x="2903" y="1225"/>
                  <a:pt x="2873" y="1195"/>
                  <a:pt x="2836" y="1195"/>
                </a:cubicBezTo>
                <a:close/>
                <a:moveTo>
                  <a:pt x="226" y="405"/>
                </a:moveTo>
                <a:cubicBezTo>
                  <a:pt x="189" y="405"/>
                  <a:pt x="159" y="435"/>
                  <a:pt x="159" y="472"/>
                </a:cubicBezTo>
                <a:cubicBezTo>
                  <a:pt x="159" y="509"/>
                  <a:pt x="189" y="539"/>
                  <a:pt x="226" y="539"/>
                </a:cubicBezTo>
                <a:lnTo>
                  <a:pt x="323" y="539"/>
                </a:lnTo>
                <a:lnTo>
                  <a:pt x="671" y="539"/>
                </a:lnTo>
                <a:lnTo>
                  <a:pt x="2248" y="539"/>
                </a:lnTo>
                <a:cubicBezTo>
                  <a:pt x="2396" y="539"/>
                  <a:pt x="2517" y="418"/>
                  <a:pt x="2517" y="269"/>
                </a:cubicBezTo>
                <a:cubicBezTo>
                  <a:pt x="2517" y="121"/>
                  <a:pt x="2396" y="0"/>
                  <a:pt x="2248" y="0"/>
                </a:cubicBezTo>
                <a:lnTo>
                  <a:pt x="671" y="0"/>
                </a:lnTo>
                <a:lnTo>
                  <a:pt x="323" y="0"/>
                </a:lnTo>
                <a:lnTo>
                  <a:pt x="226" y="0"/>
                </a:lnTo>
                <a:cubicBezTo>
                  <a:pt x="189" y="0"/>
                  <a:pt x="159" y="30"/>
                  <a:pt x="159" y="66"/>
                </a:cubicBezTo>
                <a:cubicBezTo>
                  <a:pt x="159" y="103"/>
                  <a:pt x="189" y="133"/>
                  <a:pt x="226" y="133"/>
                </a:cubicBezTo>
                <a:lnTo>
                  <a:pt x="257" y="133"/>
                </a:lnTo>
                <a:lnTo>
                  <a:pt x="257" y="405"/>
                </a:lnTo>
                <a:lnTo>
                  <a:pt x="226" y="405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11" name="up-triangle_59124"/>
          <p:cNvSpPr>
            <a:spLocks noChangeAspect="1"/>
          </p:cNvSpPr>
          <p:nvPr/>
        </p:nvSpPr>
        <p:spPr bwMode="auto">
          <a:xfrm>
            <a:off x="11582357" y="-248"/>
            <a:ext cx="609685" cy="325616"/>
          </a:xfrm>
          <a:custGeom>
            <a:avLst/>
            <a:gdLst>
              <a:gd name="T0" fmla="*/ 1600 w 1707"/>
              <a:gd name="T1" fmla="*/ 0 h 913"/>
              <a:gd name="T2" fmla="*/ 107 w 1707"/>
              <a:gd name="T3" fmla="*/ 0 h 913"/>
              <a:gd name="T4" fmla="*/ 51 w 1707"/>
              <a:gd name="T5" fmla="*/ 136 h 913"/>
              <a:gd name="T6" fmla="*/ 797 w 1707"/>
              <a:gd name="T7" fmla="*/ 882 h 913"/>
              <a:gd name="T8" fmla="*/ 909 w 1707"/>
              <a:gd name="T9" fmla="*/ 882 h 913"/>
              <a:gd name="T10" fmla="*/ 1656 w 1707"/>
              <a:gd name="T11" fmla="*/ 136 h 913"/>
              <a:gd name="T12" fmla="*/ 1600 w 1707"/>
              <a:gd name="T13" fmla="*/ 0 h 9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707" h="913">
                <a:moveTo>
                  <a:pt x="1600" y="0"/>
                </a:moveTo>
                <a:lnTo>
                  <a:pt x="107" y="0"/>
                </a:lnTo>
                <a:cubicBezTo>
                  <a:pt x="36" y="0"/>
                  <a:pt x="0" y="85"/>
                  <a:pt x="51" y="136"/>
                </a:cubicBezTo>
                <a:lnTo>
                  <a:pt x="797" y="882"/>
                </a:lnTo>
                <a:cubicBezTo>
                  <a:pt x="828" y="913"/>
                  <a:pt x="879" y="913"/>
                  <a:pt x="909" y="882"/>
                </a:cubicBezTo>
                <a:lnTo>
                  <a:pt x="1656" y="136"/>
                </a:lnTo>
                <a:cubicBezTo>
                  <a:pt x="1707" y="85"/>
                  <a:pt x="1671" y="0"/>
                  <a:pt x="1600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五边形 3"/>
          <p:cNvSpPr/>
          <p:nvPr/>
        </p:nvSpPr>
        <p:spPr>
          <a:xfrm>
            <a:off x="589915" y="404495"/>
            <a:ext cx="2465070" cy="619125"/>
          </a:xfrm>
          <a:prstGeom prst="homePlat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/>
              <a:t>典型例题</a:t>
            </a:r>
            <a:r>
              <a:rPr lang="en-US" altLang="zh-CN"/>
              <a:t>1</a:t>
            </a:r>
            <a:endParaRPr lang="en-US" altLang="zh-CN"/>
          </a:p>
        </p:txBody>
      </p:sp>
      <p:pic>
        <p:nvPicPr>
          <p:cNvPr id="8" name="图片 7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1638935" y="1115060"/>
            <a:ext cx="8446770" cy="2085340"/>
          </a:xfrm>
          <a:prstGeom prst="rect">
            <a:avLst/>
          </a:prstGeom>
        </p:spPr>
      </p:pic>
      <p:sp>
        <p:nvSpPr>
          <p:cNvPr id="9" name="three-books_73757"/>
          <p:cNvSpPr>
            <a:spLocks noChangeAspect="1"/>
          </p:cNvSpPr>
          <p:nvPr/>
        </p:nvSpPr>
        <p:spPr bwMode="auto">
          <a:xfrm>
            <a:off x="11582358" y="6383442"/>
            <a:ext cx="609685" cy="474136"/>
          </a:xfrm>
          <a:custGeom>
            <a:avLst/>
            <a:gdLst>
              <a:gd name="T0" fmla="*/ 2471 w 2903"/>
              <a:gd name="T1" fmla="*/ 1598 h 2261"/>
              <a:gd name="T2" fmla="*/ 2471 w 2903"/>
              <a:gd name="T3" fmla="*/ 2127 h 2261"/>
              <a:gd name="T4" fmla="*/ 2505 w 2903"/>
              <a:gd name="T5" fmla="*/ 2127 h 2261"/>
              <a:gd name="T6" fmla="*/ 2572 w 2903"/>
              <a:gd name="T7" fmla="*/ 2194 h 2261"/>
              <a:gd name="T8" fmla="*/ 2505 w 2903"/>
              <a:gd name="T9" fmla="*/ 2261 h 2261"/>
              <a:gd name="T10" fmla="*/ 2405 w 2903"/>
              <a:gd name="T11" fmla="*/ 2261 h 2261"/>
              <a:gd name="T12" fmla="*/ 2124 w 2903"/>
              <a:gd name="T13" fmla="*/ 2261 h 2261"/>
              <a:gd name="T14" fmla="*/ 398 w 2903"/>
              <a:gd name="T15" fmla="*/ 2261 h 2261"/>
              <a:gd name="T16" fmla="*/ 0 w 2903"/>
              <a:gd name="T17" fmla="*/ 1863 h 2261"/>
              <a:gd name="T18" fmla="*/ 398 w 2903"/>
              <a:gd name="T19" fmla="*/ 1465 h 2261"/>
              <a:gd name="T20" fmla="*/ 2124 w 2903"/>
              <a:gd name="T21" fmla="*/ 1465 h 2261"/>
              <a:gd name="T22" fmla="*/ 2405 w 2903"/>
              <a:gd name="T23" fmla="*/ 1465 h 2261"/>
              <a:gd name="T24" fmla="*/ 2505 w 2903"/>
              <a:gd name="T25" fmla="*/ 1465 h 2261"/>
              <a:gd name="T26" fmla="*/ 2572 w 2903"/>
              <a:gd name="T27" fmla="*/ 1532 h 2261"/>
              <a:gd name="T28" fmla="*/ 2505 w 2903"/>
              <a:gd name="T29" fmla="*/ 1598 h 2261"/>
              <a:gd name="T30" fmla="*/ 2471 w 2903"/>
              <a:gd name="T31" fmla="*/ 1598 h 2261"/>
              <a:gd name="T32" fmla="*/ 2836 w 2903"/>
              <a:gd name="T33" fmla="*/ 1195 h 2261"/>
              <a:gd name="T34" fmla="*/ 2786 w 2903"/>
              <a:gd name="T35" fmla="*/ 1195 h 2261"/>
              <a:gd name="T36" fmla="*/ 2786 w 2903"/>
              <a:gd name="T37" fmla="*/ 786 h 2261"/>
              <a:gd name="T38" fmla="*/ 2836 w 2903"/>
              <a:gd name="T39" fmla="*/ 786 h 2261"/>
              <a:gd name="T40" fmla="*/ 2903 w 2903"/>
              <a:gd name="T41" fmla="*/ 720 h 2261"/>
              <a:gd name="T42" fmla="*/ 2836 w 2903"/>
              <a:gd name="T43" fmla="*/ 653 h 2261"/>
              <a:gd name="T44" fmla="*/ 2720 w 2903"/>
              <a:gd name="T45" fmla="*/ 653 h 2261"/>
              <a:gd name="T46" fmla="*/ 2455 w 2903"/>
              <a:gd name="T47" fmla="*/ 653 h 2261"/>
              <a:gd name="T48" fmla="*/ 1005 w 2903"/>
              <a:gd name="T49" fmla="*/ 653 h 2261"/>
              <a:gd name="T50" fmla="*/ 668 w 2903"/>
              <a:gd name="T51" fmla="*/ 991 h 2261"/>
              <a:gd name="T52" fmla="*/ 1005 w 2903"/>
              <a:gd name="T53" fmla="*/ 1328 h 2261"/>
              <a:gd name="T54" fmla="*/ 2455 w 2903"/>
              <a:gd name="T55" fmla="*/ 1328 h 2261"/>
              <a:gd name="T56" fmla="*/ 2720 w 2903"/>
              <a:gd name="T57" fmla="*/ 1328 h 2261"/>
              <a:gd name="T58" fmla="*/ 2836 w 2903"/>
              <a:gd name="T59" fmla="*/ 1328 h 2261"/>
              <a:gd name="T60" fmla="*/ 2903 w 2903"/>
              <a:gd name="T61" fmla="*/ 1262 h 2261"/>
              <a:gd name="T62" fmla="*/ 2836 w 2903"/>
              <a:gd name="T63" fmla="*/ 1195 h 2261"/>
              <a:gd name="T64" fmla="*/ 226 w 2903"/>
              <a:gd name="T65" fmla="*/ 405 h 2261"/>
              <a:gd name="T66" fmla="*/ 159 w 2903"/>
              <a:gd name="T67" fmla="*/ 472 h 2261"/>
              <a:gd name="T68" fmla="*/ 226 w 2903"/>
              <a:gd name="T69" fmla="*/ 539 h 2261"/>
              <a:gd name="T70" fmla="*/ 323 w 2903"/>
              <a:gd name="T71" fmla="*/ 539 h 2261"/>
              <a:gd name="T72" fmla="*/ 671 w 2903"/>
              <a:gd name="T73" fmla="*/ 539 h 2261"/>
              <a:gd name="T74" fmla="*/ 2248 w 2903"/>
              <a:gd name="T75" fmla="*/ 539 h 2261"/>
              <a:gd name="T76" fmla="*/ 2517 w 2903"/>
              <a:gd name="T77" fmla="*/ 269 h 2261"/>
              <a:gd name="T78" fmla="*/ 2248 w 2903"/>
              <a:gd name="T79" fmla="*/ 0 h 2261"/>
              <a:gd name="T80" fmla="*/ 671 w 2903"/>
              <a:gd name="T81" fmla="*/ 0 h 2261"/>
              <a:gd name="T82" fmla="*/ 323 w 2903"/>
              <a:gd name="T83" fmla="*/ 0 h 2261"/>
              <a:gd name="T84" fmla="*/ 226 w 2903"/>
              <a:gd name="T85" fmla="*/ 0 h 2261"/>
              <a:gd name="T86" fmla="*/ 159 w 2903"/>
              <a:gd name="T87" fmla="*/ 66 h 2261"/>
              <a:gd name="T88" fmla="*/ 226 w 2903"/>
              <a:gd name="T89" fmla="*/ 133 h 2261"/>
              <a:gd name="T90" fmla="*/ 257 w 2903"/>
              <a:gd name="T91" fmla="*/ 133 h 2261"/>
              <a:gd name="T92" fmla="*/ 257 w 2903"/>
              <a:gd name="T93" fmla="*/ 405 h 2261"/>
              <a:gd name="T94" fmla="*/ 226 w 2903"/>
              <a:gd name="T95" fmla="*/ 405 h 22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2903" h="2261">
                <a:moveTo>
                  <a:pt x="2471" y="1598"/>
                </a:moveTo>
                <a:lnTo>
                  <a:pt x="2471" y="2127"/>
                </a:lnTo>
                <a:lnTo>
                  <a:pt x="2505" y="2127"/>
                </a:lnTo>
                <a:cubicBezTo>
                  <a:pt x="2542" y="2127"/>
                  <a:pt x="2572" y="2157"/>
                  <a:pt x="2572" y="2194"/>
                </a:cubicBezTo>
                <a:cubicBezTo>
                  <a:pt x="2572" y="2231"/>
                  <a:pt x="2542" y="2261"/>
                  <a:pt x="2505" y="2261"/>
                </a:cubicBezTo>
                <a:lnTo>
                  <a:pt x="2405" y="2261"/>
                </a:lnTo>
                <a:lnTo>
                  <a:pt x="2124" y="2261"/>
                </a:lnTo>
                <a:lnTo>
                  <a:pt x="398" y="2261"/>
                </a:lnTo>
                <a:cubicBezTo>
                  <a:pt x="178" y="2261"/>
                  <a:pt x="0" y="2082"/>
                  <a:pt x="0" y="1863"/>
                </a:cubicBezTo>
                <a:cubicBezTo>
                  <a:pt x="0" y="1643"/>
                  <a:pt x="178" y="1465"/>
                  <a:pt x="398" y="1465"/>
                </a:cubicBezTo>
                <a:lnTo>
                  <a:pt x="2124" y="1465"/>
                </a:lnTo>
                <a:lnTo>
                  <a:pt x="2405" y="1465"/>
                </a:lnTo>
                <a:lnTo>
                  <a:pt x="2505" y="1465"/>
                </a:lnTo>
                <a:cubicBezTo>
                  <a:pt x="2542" y="1465"/>
                  <a:pt x="2572" y="1495"/>
                  <a:pt x="2572" y="1532"/>
                </a:cubicBezTo>
                <a:cubicBezTo>
                  <a:pt x="2572" y="1568"/>
                  <a:pt x="2542" y="1598"/>
                  <a:pt x="2505" y="1598"/>
                </a:cubicBezTo>
                <a:lnTo>
                  <a:pt x="2471" y="1598"/>
                </a:lnTo>
                <a:close/>
                <a:moveTo>
                  <a:pt x="2836" y="1195"/>
                </a:moveTo>
                <a:lnTo>
                  <a:pt x="2786" y="1195"/>
                </a:lnTo>
                <a:lnTo>
                  <a:pt x="2786" y="786"/>
                </a:lnTo>
                <a:lnTo>
                  <a:pt x="2836" y="786"/>
                </a:lnTo>
                <a:cubicBezTo>
                  <a:pt x="2873" y="786"/>
                  <a:pt x="2903" y="757"/>
                  <a:pt x="2903" y="720"/>
                </a:cubicBezTo>
                <a:cubicBezTo>
                  <a:pt x="2903" y="683"/>
                  <a:pt x="2873" y="653"/>
                  <a:pt x="2836" y="653"/>
                </a:cubicBezTo>
                <a:lnTo>
                  <a:pt x="2720" y="653"/>
                </a:lnTo>
                <a:lnTo>
                  <a:pt x="2455" y="653"/>
                </a:lnTo>
                <a:lnTo>
                  <a:pt x="1005" y="653"/>
                </a:lnTo>
                <a:cubicBezTo>
                  <a:pt x="819" y="653"/>
                  <a:pt x="668" y="805"/>
                  <a:pt x="668" y="991"/>
                </a:cubicBezTo>
                <a:cubicBezTo>
                  <a:pt x="668" y="1177"/>
                  <a:pt x="819" y="1328"/>
                  <a:pt x="1005" y="1328"/>
                </a:cubicBezTo>
                <a:lnTo>
                  <a:pt x="2455" y="1328"/>
                </a:lnTo>
                <a:lnTo>
                  <a:pt x="2720" y="1328"/>
                </a:lnTo>
                <a:lnTo>
                  <a:pt x="2836" y="1328"/>
                </a:lnTo>
                <a:cubicBezTo>
                  <a:pt x="2873" y="1328"/>
                  <a:pt x="2903" y="1299"/>
                  <a:pt x="2903" y="1262"/>
                </a:cubicBezTo>
                <a:cubicBezTo>
                  <a:pt x="2903" y="1225"/>
                  <a:pt x="2873" y="1195"/>
                  <a:pt x="2836" y="1195"/>
                </a:cubicBezTo>
                <a:close/>
                <a:moveTo>
                  <a:pt x="226" y="405"/>
                </a:moveTo>
                <a:cubicBezTo>
                  <a:pt x="189" y="405"/>
                  <a:pt x="159" y="435"/>
                  <a:pt x="159" y="472"/>
                </a:cubicBezTo>
                <a:cubicBezTo>
                  <a:pt x="159" y="509"/>
                  <a:pt x="189" y="539"/>
                  <a:pt x="226" y="539"/>
                </a:cubicBezTo>
                <a:lnTo>
                  <a:pt x="323" y="539"/>
                </a:lnTo>
                <a:lnTo>
                  <a:pt x="671" y="539"/>
                </a:lnTo>
                <a:lnTo>
                  <a:pt x="2248" y="539"/>
                </a:lnTo>
                <a:cubicBezTo>
                  <a:pt x="2396" y="539"/>
                  <a:pt x="2517" y="418"/>
                  <a:pt x="2517" y="269"/>
                </a:cubicBezTo>
                <a:cubicBezTo>
                  <a:pt x="2517" y="121"/>
                  <a:pt x="2396" y="0"/>
                  <a:pt x="2248" y="0"/>
                </a:cubicBezTo>
                <a:lnTo>
                  <a:pt x="671" y="0"/>
                </a:lnTo>
                <a:lnTo>
                  <a:pt x="323" y="0"/>
                </a:lnTo>
                <a:lnTo>
                  <a:pt x="226" y="0"/>
                </a:lnTo>
                <a:cubicBezTo>
                  <a:pt x="189" y="0"/>
                  <a:pt x="159" y="30"/>
                  <a:pt x="159" y="66"/>
                </a:cubicBezTo>
                <a:cubicBezTo>
                  <a:pt x="159" y="103"/>
                  <a:pt x="189" y="133"/>
                  <a:pt x="226" y="133"/>
                </a:cubicBezTo>
                <a:lnTo>
                  <a:pt x="257" y="133"/>
                </a:lnTo>
                <a:lnTo>
                  <a:pt x="257" y="405"/>
                </a:lnTo>
                <a:lnTo>
                  <a:pt x="226" y="405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11" name="up-triangle_59124"/>
          <p:cNvSpPr>
            <a:spLocks noChangeAspect="1"/>
          </p:cNvSpPr>
          <p:nvPr/>
        </p:nvSpPr>
        <p:spPr bwMode="auto">
          <a:xfrm>
            <a:off x="11582357" y="-248"/>
            <a:ext cx="609685" cy="325616"/>
          </a:xfrm>
          <a:custGeom>
            <a:avLst/>
            <a:gdLst>
              <a:gd name="T0" fmla="*/ 1600 w 1707"/>
              <a:gd name="T1" fmla="*/ 0 h 913"/>
              <a:gd name="T2" fmla="*/ 107 w 1707"/>
              <a:gd name="T3" fmla="*/ 0 h 913"/>
              <a:gd name="T4" fmla="*/ 51 w 1707"/>
              <a:gd name="T5" fmla="*/ 136 h 913"/>
              <a:gd name="T6" fmla="*/ 797 w 1707"/>
              <a:gd name="T7" fmla="*/ 882 h 913"/>
              <a:gd name="T8" fmla="*/ 909 w 1707"/>
              <a:gd name="T9" fmla="*/ 882 h 913"/>
              <a:gd name="T10" fmla="*/ 1656 w 1707"/>
              <a:gd name="T11" fmla="*/ 136 h 913"/>
              <a:gd name="T12" fmla="*/ 1600 w 1707"/>
              <a:gd name="T13" fmla="*/ 0 h 9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707" h="913">
                <a:moveTo>
                  <a:pt x="1600" y="0"/>
                </a:moveTo>
                <a:lnTo>
                  <a:pt x="107" y="0"/>
                </a:lnTo>
                <a:cubicBezTo>
                  <a:pt x="36" y="0"/>
                  <a:pt x="0" y="85"/>
                  <a:pt x="51" y="136"/>
                </a:cubicBezTo>
                <a:lnTo>
                  <a:pt x="797" y="882"/>
                </a:lnTo>
                <a:cubicBezTo>
                  <a:pt x="828" y="913"/>
                  <a:pt x="879" y="913"/>
                  <a:pt x="909" y="882"/>
                </a:cubicBezTo>
                <a:lnTo>
                  <a:pt x="1656" y="136"/>
                </a:lnTo>
                <a:cubicBezTo>
                  <a:pt x="1707" y="85"/>
                  <a:pt x="1671" y="0"/>
                  <a:pt x="1600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6" name="文本框 5"/>
          <p:cNvSpPr txBox="1"/>
          <p:nvPr/>
        </p:nvSpPr>
        <p:spPr>
          <a:xfrm>
            <a:off x="430530" y="4050665"/>
            <a:ext cx="1045845" cy="95313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 sz="2800" b="1">
                <a:latin typeface="宋体" panose="02010600030101010101" pitchFamily="2" charset="-122"/>
                <a:ea typeface="宋体" panose="02010600030101010101" pitchFamily="2" charset="-122"/>
              </a:rPr>
              <a:t>问题分析</a:t>
            </a:r>
            <a:endParaRPr lang="zh-CN" altLang="en-US" sz="2800" b="1">
              <a:latin typeface="宋体" panose="02010600030101010101" pitchFamily="2" charset="-122"/>
              <a:ea typeface="宋体" panose="02010600030101010101" pitchFamily="2" charset="-122"/>
            </a:endParaRPr>
          </a:p>
        </p:txBody>
      </p:sp>
      <p:cxnSp>
        <p:nvCxnSpPr>
          <p:cNvPr id="10" name="直接连接符 9"/>
          <p:cNvCxnSpPr/>
          <p:nvPr/>
        </p:nvCxnSpPr>
        <p:spPr>
          <a:xfrm>
            <a:off x="1638935" y="3304540"/>
            <a:ext cx="0" cy="31026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0" name="图片 99"/>
          <p:cNvPicPr/>
          <p:nvPr/>
        </p:nvPicPr>
        <p:blipFill>
          <a:blip r:embed="rId2"/>
          <a:stretch>
            <a:fillRect/>
          </a:stretch>
        </p:blipFill>
        <p:spPr>
          <a:xfrm>
            <a:off x="2389505" y="3491865"/>
            <a:ext cx="3963035" cy="558800"/>
          </a:xfrm>
          <a:prstGeom prst="rect">
            <a:avLst/>
          </a:prstGeom>
          <a:noFill/>
          <a:ln w="9525">
            <a:noFill/>
          </a:ln>
        </p:spPr>
      </p:pic>
      <p:pic>
        <p:nvPicPr>
          <p:cNvPr id="101" name="图片 100"/>
          <p:cNvPicPr/>
          <p:nvPr/>
        </p:nvPicPr>
        <p:blipFill>
          <a:blip r:embed="rId3"/>
          <a:stretch>
            <a:fillRect/>
          </a:stretch>
        </p:blipFill>
        <p:spPr>
          <a:xfrm>
            <a:off x="2389505" y="4157345"/>
            <a:ext cx="6244590" cy="500380"/>
          </a:xfrm>
          <a:prstGeom prst="rect">
            <a:avLst/>
          </a:prstGeom>
          <a:noFill/>
          <a:ln w="9525">
            <a:noFill/>
          </a:ln>
        </p:spPr>
      </p:pic>
      <p:pic>
        <p:nvPicPr>
          <p:cNvPr id="102" name="图片 101"/>
          <p:cNvPicPr/>
          <p:nvPr/>
        </p:nvPicPr>
        <p:blipFill>
          <a:blip r:embed="rId4"/>
          <a:stretch>
            <a:fillRect/>
          </a:stretch>
        </p:blipFill>
        <p:spPr>
          <a:xfrm>
            <a:off x="2389505" y="4765040"/>
            <a:ext cx="5841365" cy="633730"/>
          </a:xfrm>
          <a:prstGeom prst="rect">
            <a:avLst/>
          </a:prstGeom>
          <a:noFill/>
          <a:ln w="9525">
            <a:noFill/>
          </a:ln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2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2000"/>
                                        <p:tgtEl>
                                          <p:spTgt spid="10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2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2000"/>
                                        <p:tgtEl>
                                          <p:spTgt spid="10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2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2000"/>
                                        <p:tgtEl>
                                          <p:spTgt spid="10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五边形 3"/>
          <p:cNvSpPr/>
          <p:nvPr/>
        </p:nvSpPr>
        <p:spPr>
          <a:xfrm>
            <a:off x="589915" y="404495"/>
            <a:ext cx="2465070" cy="619125"/>
          </a:xfrm>
          <a:prstGeom prst="homePlat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/>
              <a:t>典型例题</a:t>
            </a:r>
            <a:r>
              <a:rPr lang="en-US" altLang="zh-CN"/>
              <a:t>1</a:t>
            </a:r>
            <a:endParaRPr lang="en-US" altLang="zh-CN"/>
          </a:p>
        </p:txBody>
      </p:sp>
      <p:pic>
        <p:nvPicPr>
          <p:cNvPr id="8" name="图片 7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1638935" y="1082040"/>
            <a:ext cx="8446770" cy="2085340"/>
          </a:xfrm>
          <a:prstGeom prst="rect">
            <a:avLst/>
          </a:prstGeom>
        </p:spPr>
      </p:pic>
      <p:sp>
        <p:nvSpPr>
          <p:cNvPr id="9" name="three-books_73757"/>
          <p:cNvSpPr>
            <a:spLocks noChangeAspect="1"/>
          </p:cNvSpPr>
          <p:nvPr/>
        </p:nvSpPr>
        <p:spPr bwMode="auto">
          <a:xfrm>
            <a:off x="11582358" y="6383442"/>
            <a:ext cx="609685" cy="474136"/>
          </a:xfrm>
          <a:custGeom>
            <a:avLst/>
            <a:gdLst>
              <a:gd name="T0" fmla="*/ 2471 w 2903"/>
              <a:gd name="T1" fmla="*/ 1598 h 2261"/>
              <a:gd name="T2" fmla="*/ 2471 w 2903"/>
              <a:gd name="T3" fmla="*/ 2127 h 2261"/>
              <a:gd name="T4" fmla="*/ 2505 w 2903"/>
              <a:gd name="T5" fmla="*/ 2127 h 2261"/>
              <a:gd name="T6" fmla="*/ 2572 w 2903"/>
              <a:gd name="T7" fmla="*/ 2194 h 2261"/>
              <a:gd name="T8" fmla="*/ 2505 w 2903"/>
              <a:gd name="T9" fmla="*/ 2261 h 2261"/>
              <a:gd name="T10" fmla="*/ 2405 w 2903"/>
              <a:gd name="T11" fmla="*/ 2261 h 2261"/>
              <a:gd name="T12" fmla="*/ 2124 w 2903"/>
              <a:gd name="T13" fmla="*/ 2261 h 2261"/>
              <a:gd name="T14" fmla="*/ 398 w 2903"/>
              <a:gd name="T15" fmla="*/ 2261 h 2261"/>
              <a:gd name="T16" fmla="*/ 0 w 2903"/>
              <a:gd name="T17" fmla="*/ 1863 h 2261"/>
              <a:gd name="T18" fmla="*/ 398 w 2903"/>
              <a:gd name="T19" fmla="*/ 1465 h 2261"/>
              <a:gd name="T20" fmla="*/ 2124 w 2903"/>
              <a:gd name="T21" fmla="*/ 1465 h 2261"/>
              <a:gd name="T22" fmla="*/ 2405 w 2903"/>
              <a:gd name="T23" fmla="*/ 1465 h 2261"/>
              <a:gd name="T24" fmla="*/ 2505 w 2903"/>
              <a:gd name="T25" fmla="*/ 1465 h 2261"/>
              <a:gd name="T26" fmla="*/ 2572 w 2903"/>
              <a:gd name="T27" fmla="*/ 1532 h 2261"/>
              <a:gd name="T28" fmla="*/ 2505 w 2903"/>
              <a:gd name="T29" fmla="*/ 1598 h 2261"/>
              <a:gd name="T30" fmla="*/ 2471 w 2903"/>
              <a:gd name="T31" fmla="*/ 1598 h 2261"/>
              <a:gd name="T32" fmla="*/ 2836 w 2903"/>
              <a:gd name="T33" fmla="*/ 1195 h 2261"/>
              <a:gd name="T34" fmla="*/ 2786 w 2903"/>
              <a:gd name="T35" fmla="*/ 1195 h 2261"/>
              <a:gd name="T36" fmla="*/ 2786 w 2903"/>
              <a:gd name="T37" fmla="*/ 786 h 2261"/>
              <a:gd name="T38" fmla="*/ 2836 w 2903"/>
              <a:gd name="T39" fmla="*/ 786 h 2261"/>
              <a:gd name="T40" fmla="*/ 2903 w 2903"/>
              <a:gd name="T41" fmla="*/ 720 h 2261"/>
              <a:gd name="T42" fmla="*/ 2836 w 2903"/>
              <a:gd name="T43" fmla="*/ 653 h 2261"/>
              <a:gd name="T44" fmla="*/ 2720 w 2903"/>
              <a:gd name="T45" fmla="*/ 653 h 2261"/>
              <a:gd name="T46" fmla="*/ 2455 w 2903"/>
              <a:gd name="T47" fmla="*/ 653 h 2261"/>
              <a:gd name="T48" fmla="*/ 1005 w 2903"/>
              <a:gd name="T49" fmla="*/ 653 h 2261"/>
              <a:gd name="T50" fmla="*/ 668 w 2903"/>
              <a:gd name="T51" fmla="*/ 991 h 2261"/>
              <a:gd name="T52" fmla="*/ 1005 w 2903"/>
              <a:gd name="T53" fmla="*/ 1328 h 2261"/>
              <a:gd name="T54" fmla="*/ 2455 w 2903"/>
              <a:gd name="T55" fmla="*/ 1328 h 2261"/>
              <a:gd name="T56" fmla="*/ 2720 w 2903"/>
              <a:gd name="T57" fmla="*/ 1328 h 2261"/>
              <a:gd name="T58" fmla="*/ 2836 w 2903"/>
              <a:gd name="T59" fmla="*/ 1328 h 2261"/>
              <a:gd name="T60" fmla="*/ 2903 w 2903"/>
              <a:gd name="T61" fmla="*/ 1262 h 2261"/>
              <a:gd name="T62" fmla="*/ 2836 w 2903"/>
              <a:gd name="T63" fmla="*/ 1195 h 2261"/>
              <a:gd name="T64" fmla="*/ 226 w 2903"/>
              <a:gd name="T65" fmla="*/ 405 h 2261"/>
              <a:gd name="T66" fmla="*/ 159 w 2903"/>
              <a:gd name="T67" fmla="*/ 472 h 2261"/>
              <a:gd name="T68" fmla="*/ 226 w 2903"/>
              <a:gd name="T69" fmla="*/ 539 h 2261"/>
              <a:gd name="T70" fmla="*/ 323 w 2903"/>
              <a:gd name="T71" fmla="*/ 539 h 2261"/>
              <a:gd name="T72" fmla="*/ 671 w 2903"/>
              <a:gd name="T73" fmla="*/ 539 h 2261"/>
              <a:gd name="T74" fmla="*/ 2248 w 2903"/>
              <a:gd name="T75" fmla="*/ 539 h 2261"/>
              <a:gd name="T76" fmla="*/ 2517 w 2903"/>
              <a:gd name="T77" fmla="*/ 269 h 2261"/>
              <a:gd name="T78" fmla="*/ 2248 w 2903"/>
              <a:gd name="T79" fmla="*/ 0 h 2261"/>
              <a:gd name="T80" fmla="*/ 671 w 2903"/>
              <a:gd name="T81" fmla="*/ 0 h 2261"/>
              <a:gd name="T82" fmla="*/ 323 w 2903"/>
              <a:gd name="T83" fmla="*/ 0 h 2261"/>
              <a:gd name="T84" fmla="*/ 226 w 2903"/>
              <a:gd name="T85" fmla="*/ 0 h 2261"/>
              <a:gd name="T86" fmla="*/ 159 w 2903"/>
              <a:gd name="T87" fmla="*/ 66 h 2261"/>
              <a:gd name="T88" fmla="*/ 226 w 2903"/>
              <a:gd name="T89" fmla="*/ 133 h 2261"/>
              <a:gd name="T90" fmla="*/ 257 w 2903"/>
              <a:gd name="T91" fmla="*/ 133 h 2261"/>
              <a:gd name="T92" fmla="*/ 257 w 2903"/>
              <a:gd name="T93" fmla="*/ 405 h 2261"/>
              <a:gd name="T94" fmla="*/ 226 w 2903"/>
              <a:gd name="T95" fmla="*/ 405 h 22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2903" h="2261">
                <a:moveTo>
                  <a:pt x="2471" y="1598"/>
                </a:moveTo>
                <a:lnTo>
                  <a:pt x="2471" y="2127"/>
                </a:lnTo>
                <a:lnTo>
                  <a:pt x="2505" y="2127"/>
                </a:lnTo>
                <a:cubicBezTo>
                  <a:pt x="2542" y="2127"/>
                  <a:pt x="2572" y="2157"/>
                  <a:pt x="2572" y="2194"/>
                </a:cubicBezTo>
                <a:cubicBezTo>
                  <a:pt x="2572" y="2231"/>
                  <a:pt x="2542" y="2261"/>
                  <a:pt x="2505" y="2261"/>
                </a:cubicBezTo>
                <a:lnTo>
                  <a:pt x="2405" y="2261"/>
                </a:lnTo>
                <a:lnTo>
                  <a:pt x="2124" y="2261"/>
                </a:lnTo>
                <a:lnTo>
                  <a:pt x="398" y="2261"/>
                </a:lnTo>
                <a:cubicBezTo>
                  <a:pt x="178" y="2261"/>
                  <a:pt x="0" y="2082"/>
                  <a:pt x="0" y="1863"/>
                </a:cubicBezTo>
                <a:cubicBezTo>
                  <a:pt x="0" y="1643"/>
                  <a:pt x="178" y="1465"/>
                  <a:pt x="398" y="1465"/>
                </a:cubicBezTo>
                <a:lnTo>
                  <a:pt x="2124" y="1465"/>
                </a:lnTo>
                <a:lnTo>
                  <a:pt x="2405" y="1465"/>
                </a:lnTo>
                <a:lnTo>
                  <a:pt x="2505" y="1465"/>
                </a:lnTo>
                <a:cubicBezTo>
                  <a:pt x="2542" y="1465"/>
                  <a:pt x="2572" y="1495"/>
                  <a:pt x="2572" y="1532"/>
                </a:cubicBezTo>
                <a:cubicBezTo>
                  <a:pt x="2572" y="1568"/>
                  <a:pt x="2542" y="1598"/>
                  <a:pt x="2505" y="1598"/>
                </a:cubicBezTo>
                <a:lnTo>
                  <a:pt x="2471" y="1598"/>
                </a:lnTo>
                <a:close/>
                <a:moveTo>
                  <a:pt x="2836" y="1195"/>
                </a:moveTo>
                <a:lnTo>
                  <a:pt x="2786" y="1195"/>
                </a:lnTo>
                <a:lnTo>
                  <a:pt x="2786" y="786"/>
                </a:lnTo>
                <a:lnTo>
                  <a:pt x="2836" y="786"/>
                </a:lnTo>
                <a:cubicBezTo>
                  <a:pt x="2873" y="786"/>
                  <a:pt x="2903" y="757"/>
                  <a:pt x="2903" y="720"/>
                </a:cubicBezTo>
                <a:cubicBezTo>
                  <a:pt x="2903" y="683"/>
                  <a:pt x="2873" y="653"/>
                  <a:pt x="2836" y="653"/>
                </a:cubicBezTo>
                <a:lnTo>
                  <a:pt x="2720" y="653"/>
                </a:lnTo>
                <a:lnTo>
                  <a:pt x="2455" y="653"/>
                </a:lnTo>
                <a:lnTo>
                  <a:pt x="1005" y="653"/>
                </a:lnTo>
                <a:cubicBezTo>
                  <a:pt x="819" y="653"/>
                  <a:pt x="668" y="805"/>
                  <a:pt x="668" y="991"/>
                </a:cubicBezTo>
                <a:cubicBezTo>
                  <a:pt x="668" y="1177"/>
                  <a:pt x="819" y="1328"/>
                  <a:pt x="1005" y="1328"/>
                </a:cubicBezTo>
                <a:lnTo>
                  <a:pt x="2455" y="1328"/>
                </a:lnTo>
                <a:lnTo>
                  <a:pt x="2720" y="1328"/>
                </a:lnTo>
                <a:lnTo>
                  <a:pt x="2836" y="1328"/>
                </a:lnTo>
                <a:cubicBezTo>
                  <a:pt x="2873" y="1328"/>
                  <a:pt x="2903" y="1299"/>
                  <a:pt x="2903" y="1262"/>
                </a:cubicBezTo>
                <a:cubicBezTo>
                  <a:pt x="2903" y="1225"/>
                  <a:pt x="2873" y="1195"/>
                  <a:pt x="2836" y="1195"/>
                </a:cubicBezTo>
                <a:close/>
                <a:moveTo>
                  <a:pt x="226" y="405"/>
                </a:moveTo>
                <a:cubicBezTo>
                  <a:pt x="189" y="405"/>
                  <a:pt x="159" y="435"/>
                  <a:pt x="159" y="472"/>
                </a:cubicBezTo>
                <a:cubicBezTo>
                  <a:pt x="159" y="509"/>
                  <a:pt x="189" y="539"/>
                  <a:pt x="226" y="539"/>
                </a:cubicBezTo>
                <a:lnTo>
                  <a:pt x="323" y="539"/>
                </a:lnTo>
                <a:lnTo>
                  <a:pt x="671" y="539"/>
                </a:lnTo>
                <a:lnTo>
                  <a:pt x="2248" y="539"/>
                </a:lnTo>
                <a:cubicBezTo>
                  <a:pt x="2396" y="539"/>
                  <a:pt x="2517" y="418"/>
                  <a:pt x="2517" y="269"/>
                </a:cubicBezTo>
                <a:cubicBezTo>
                  <a:pt x="2517" y="121"/>
                  <a:pt x="2396" y="0"/>
                  <a:pt x="2248" y="0"/>
                </a:cubicBezTo>
                <a:lnTo>
                  <a:pt x="671" y="0"/>
                </a:lnTo>
                <a:lnTo>
                  <a:pt x="323" y="0"/>
                </a:lnTo>
                <a:lnTo>
                  <a:pt x="226" y="0"/>
                </a:lnTo>
                <a:cubicBezTo>
                  <a:pt x="189" y="0"/>
                  <a:pt x="159" y="30"/>
                  <a:pt x="159" y="66"/>
                </a:cubicBezTo>
                <a:cubicBezTo>
                  <a:pt x="159" y="103"/>
                  <a:pt x="189" y="133"/>
                  <a:pt x="226" y="133"/>
                </a:cubicBezTo>
                <a:lnTo>
                  <a:pt x="257" y="133"/>
                </a:lnTo>
                <a:lnTo>
                  <a:pt x="257" y="405"/>
                </a:lnTo>
                <a:lnTo>
                  <a:pt x="226" y="405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11" name="up-triangle_59124"/>
          <p:cNvSpPr>
            <a:spLocks noChangeAspect="1"/>
          </p:cNvSpPr>
          <p:nvPr/>
        </p:nvSpPr>
        <p:spPr bwMode="auto">
          <a:xfrm>
            <a:off x="11582357" y="-248"/>
            <a:ext cx="609685" cy="325616"/>
          </a:xfrm>
          <a:custGeom>
            <a:avLst/>
            <a:gdLst>
              <a:gd name="T0" fmla="*/ 1600 w 1707"/>
              <a:gd name="T1" fmla="*/ 0 h 913"/>
              <a:gd name="T2" fmla="*/ 107 w 1707"/>
              <a:gd name="T3" fmla="*/ 0 h 913"/>
              <a:gd name="T4" fmla="*/ 51 w 1707"/>
              <a:gd name="T5" fmla="*/ 136 h 913"/>
              <a:gd name="T6" fmla="*/ 797 w 1707"/>
              <a:gd name="T7" fmla="*/ 882 h 913"/>
              <a:gd name="T8" fmla="*/ 909 w 1707"/>
              <a:gd name="T9" fmla="*/ 882 h 913"/>
              <a:gd name="T10" fmla="*/ 1656 w 1707"/>
              <a:gd name="T11" fmla="*/ 136 h 913"/>
              <a:gd name="T12" fmla="*/ 1600 w 1707"/>
              <a:gd name="T13" fmla="*/ 0 h 9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707" h="913">
                <a:moveTo>
                  <a:pt x="1600" y="0"/>
                </a:moveTo>
                <a:lnTo>
                  <a:pt x="107" y="0"/>
                </a:lnTo>
                <a:cubicBezTo>
                  <a:pt x="36" y="0"/>
                  <a:pt x="0" y="85"/>
                  <a:pt x="51" y="136"/>
                </a:cubicBezTo>
                <a:lnTo>
                  <a:pt x="797" y="882"/>
                </a:lnTo>
                <a:cubicBezTo>
                  <a:pt x="828" y="913"/>
                  <a:pt x="879" y="913"/>
                  <a:pt x="909" y="882"/>
                </a:cubicBezTo>
                <a:lnTo>
                  <a:pt x="1656" y="136"/>
                </a:lnTo>
                <a:cubicBezTo>
                  <a:pt x="1707" y="85"/>
                  <a:pt x="1671" y="0"/>
                  <a:pt x="1600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6" name="文本框 5"/>
          <p:cNvSpPr txBox="1"/>
          <p:nvPr/>
        </p:nvSpPr>
        <p:spPr>
          <a:xfrm>
            <a:off x="430530" y="4050665"/>
            <a:ext cx="1045845" cy="95313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 sz="2800" b="1">
                <a:latin typeface="宋体" panose="02010600030101010101" pitchFamily="2" charset="-122"/>
                <a:ea typeface="宋体" panose="02010600030101010101" pitchFamily="2" charset="-122"/>
              </a:rPr>
              <a:t>解析过程</a:t>
            </a:r>
            <a:endParaRPr lang="zh-CN" altLang="en-US" sz="2800" b="1">
              <a:latin typeface="宋体" panose="02010600030101010101" pitchFamily="2" charset="-122"/>
              <a:ea typeface="宋体" panose="02010600030101010101" pitchFamily="2" charset="-122"/>
            </a:endParaRPr>
          </a:p>
        </p:txBody>
      </p:sp>
      <p:cxnSp>
        <p:nvCxnSpPr>
          <p:cNvPr id="10" name="直接连接符 9"/>
          <p:cNvCxnSpPr/>
          <p:nvPr/>
        </p:nvCxnSpPr>
        <p:spPr>
          <a:xfrm>
            <a:off x="1638935" y="3304540"/>
            <a:ext cx="0" cy="31026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图片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42185" y="3167380"/>
            <a:ext cx="7706360" cy="2851785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28" name="组合 27"/>
          <p:cNvGrpSpPr/>
          <p:nvPr/>
        </p:nvGrpSpPr>
        <p:grpSpPr>
          <a:xfrm>
            <a:off x="2503170" y="4201160"/>
            <a:ext cx="6955155" cy="1037590"/>
            <a:chOff x="3942" y="6616"/>
            <a:chExt cx="10953" cy="1634"/>
          </a:xfrm>
        </p:grpSpPr>
        <p:cxnSp>
          <p:nvCxnSpPr>
            <p:cNvPr id="18" name="直接连接符 17"/>
            <p:cNvCxnSpPr/>
            <p:nvPr/>
          </p:nvCxnSpPr>
          <p:spPr>
            <a:xfrm flipV="1">
              <a:off x="8707" y="6616"/>
              <a:ext cx="1337" cy="1577"/>
            </a:xfrm>
            <a:prstGeom prst="line">
              <a:avLst/>
            </a:prstGeom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直接连接符 18"/>
            <p:cNvCxnSpPr/>
            <p:nvPr/>
          </p:nvCxnSpPr>
          <p:spPr>
            <a:xfrm flipV="1">
              <a:off x="11479" y="6616"/>
              <a:ext cx="1337" cy="1577"/>
            </a:xfrm>
            <a:prstGeom prst="line">
              <a:avLst/>
            </a:prstGeom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直接连接符 19"/>
            <p:cNvCxnSpPr/>
            <p:nvPr/>
          </p:nvCxnSpPr>
          <p:spPr>
            <a:xfrm>
              <a:off x="10044" y="6640"/>
              <a:ext cx="1423" cy="1519"/>
            </a:xfrm>
            <a:prstGeom prst="line">
              <a:avLst/>
            </a:prstGeom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直接连接符 20"/>
            <p:cNvCxnSpPr/>
            <p:nvPr/>
          </p:nvCxnSpPr>
          <p:spPr>
            <a:xfrm>
              <a:off x="12816" y="6645"/>
              <a:ext cx="1423" cy="1519"/>
            </a:xfrm>
            <a:prstGeom prst="line">
              <a:avLst/>
            </a:prstGeom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直接连接符 21"/>
            <p:cNvCxnSpPr/>
            <p:nvPr/>
          </p:nvCxnSpPr>
          <p:spPr>
            <a:xfrm>
              <a:off x="7284" y="6674"/>
              <a:ext cx="1423" cy="1519"/>
            </a:xfrm>
            <a:prstGeom prst="line">
              <a:avLst/>
            </a:prstGeom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直接连接符 22"/>
            <p:cNvCxnSpPr/>
            <p:nvPr/>
          </p:nvCxnSpPr>
          <p:spPr>
            <a:xfrm flipV="1">
              <a:off x="5947" y="6674"/>
              <a:ext cx="1337" cy="1577"/>
            </a:xfrm>
            <a:prstGeom prst="line">
              <a:avLst/>
            </a:prstGeom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直接连接符 23"/>
            <p:cNvCxnSpPr/>
            <p:nvPr/>
          </p:nvCxnSpPr>
          <p:spPr>
            <a:xfrm>
              <a:off x="4524" y="6703"/>
              <a:ext cx="1423" cy="1519"/>
            </a:xfrm>
            <a:prstGeom prst="line">
              <a:avLst/>
            </a:prstGeom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直接连接符 25"/>
            <p:cNvCxnSpPr/>
            <p:nvPr/>
          </p:nvCxnSpPr>
          <p:spPr>
            <a:xfrm flipV="1">
              <a:off x="14239" y="7387"/>
              <a:ext cx="657" cy="772"/>
            </a:xfrm>
            <a:prstGeom prst="line">
              <a:avLst/>
            </a:prstGeom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直接连接符 26"/>
            <p:cNvCxnSpPr/>
            <p:nvPr/>
          </p:nvCxnSpPr>
          <p:spPr>
            <a:xfrm flipV="1">
              <a:off x="3942" y="6703"/>
              <a:ext cx="582" cy="684"/>
            </a:xfrm>
            <a:prstGeom prst="line">
              <a:avLst/>
            </a:prstGeom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9" name="图片 2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772910" y="4662805"/>
            <a:ext cx="114300" cy="114300"/>
          </a:xfrm>
          <a:prstGeom prst="rect">
            <a:avLst/>
          </a:prstGeom>
        </p:spPr>
      </p:pic>
      <p:grpSp>
        <p:nvGrpSpPr>
          <p:cNvPr id="33" name="组合 32"/>
          <p:cNvGrpSpPr/>
          <p:nvPr/>
        </p:nvGrpSpPr>
        <p:grpSpPr>
          <a:xfrm>
            <a:off x="6854825" y="4690745"/>
            <a:ext cx="871220" cy="500380"/>
            <a:chOff x="10666" y="8405"/>
            <a:chExt cx="1372" cy="788"/>
          </a:xfrm>
        </p:grpSpPr>
        <p:cxnSp>
          <p:nvCxnSpPr>
            <p:cNvPr id="30" name="直接连接符 29"/>
            <p:cNvCxnSpPr/>
            <p:nvPr/>
          </p:nvCxnSpPr>
          <p:spPr>
            <a:xfrm>
              <a:off x="10666" y="8431"/>
              <a:ext cx="686" cy="737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直接连接符 30"/>
            <p:cNvCxnSpPr/>
            <p:nvPr/>
          </p:nvCxnSpPr>
          <p:spPr>
            <a:xfrm flipV="1">
              <a:off x="11352" y="8405"/>
              <a:ext cx="686" cy="789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4" name="任意多边形 33"/>
          <p:cNvSpPr/>
          <p:nvPr/>
        </p:nvSpPr>
        <p:spPr>
          <a:xfrm>
            <a:off x="6073140" y="3963670"/>
            <a:ext cx="3950970" cy="1859280"/>
          </a:xfrm>
          <a:custGeom>
            <a:avLst/>
            <a:gdLst>
              <a:gd name="connisteX0" fmla="*/ 0 w 3951193"/>
              <a:gd name="connsiteY0" fmla="*/ 1858967 h 1858967"/>
              <a:gd name="connisteX1" fmla="*/ 348615 w 3951193"/>
              <a:gd name="connsiteY1" fmla="*/ 726762 h 1858967"/>
              <a:gd name="connisteX2" fmla="*/ 2079625 w 3951193"/>
              <a:gd name="connsiteY2" fmla="*/ 226382 h 1858967"/>
              <a:gd name="connisteX3" fmla="*/ 3766820 w 3951193"/>
              <a:gd name="connsiteY3" fmla="*/ 19372 h 1858967"/>
              <a:gd name="connisteX4" fmla="*/ 3843020 w 3951193"/>
              <a:gd name="connsiteY4" fmla="*/ 19372 h 1858967"/>
            </a:gdLst>
            <a:ahLst/>
            <a:cxnLst>
              <a:cxn ang="0">
                <a:pos x="connisteX0" y="connsiteY0"/>
              </a:cxn>
              <a:cxn ang="0">
                <a:pos x="connisteX1" y="connsiteY1"/>
              </a:cxn>
              <a:cxn ang="0">
                <a:pos x="connisteX2" y="connsiteY2"/>
              </a:cxn>
              <a:cxn ang="0">
                <a:pos x="connisteX3" y="connsiteY3"/>
              </a:cxn>
              <a:cxn ang="0">
                <a:pos x="connisteX4" y="connsiteY4"/>
              </a:cxn>
            </a:cxnLst>
            <a:rect l="l" t="t" r="r" b="b"/>
            <a:pathLst>
              <a:path w="3951194" h="1858968">
                <a:moveTo>
                  <a:pt x="0" y="1858968"/>
                </a:moveTo>
                <a:cubicBezTo>
                  <a:pt x="34925" y="1642433"/>
                  <a:pt x="-67310" y="1053153"/>
                  <a:pt x="348615" y="726763"/>
                </a:cubicBezTo>
                <a:cubicBezTo>
                  <a:pt x="764540" y="400373"/>
                  <a:pt x="1395730" y="367988"/>
                  <a:pt x="2079625" y="226383"/>
                </a:cubicBezTo>
                <a:cubicBezTo>
                  <a:pt x="2763520" y="84778"/>
                  <a:pt x="3414395" y="60648"/>
                  <a:pt x="3766820" y="19373"/>
                </a:cubicBezTo>
                <a:cubicBezTo>
                  <a:pt x="4119245" y="-21902"/>
                  <a:pt x="3861435" y="14928"/>
                  <a:pt x="3843020" y="19373"/>
                </a:cubicBezTo>
              </a:path>
            </a:pathLst>
          </a:custGeom>
          <a:noFill/>
          <a:ln w="25400"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35" name="任意多边形 34"/>
          <p:cNvSpPr/>
          <p:nvPr/>
        </p:nvSpPr>
        <p:spPr>
          <a:xfrm>
            <a:off x="2285365" y="3939540"/>
            <a:ext cx="3577590" cy="1840230"/>
          </a:xfrm>
          <a:custGeom>
            <a:avLst/>
            <a:gdLst>
              <a:gd name="connisteX0" fmla="*/ 3570605 w 3577712"/>
              <a:gd name="connsiteY0" fmla="*/ 1840230 h 1840230"/>
              <a:gd name="connisteX1" fmla="*/ 3276600 w 3577712"/>
              <a:gd name="connsiteY1" fmla="*/ 751205 h 1840230"/>
              <a:gd name="connisteX2" fmla="*/ 1480185 w 3577712"/>
              <a:gd name="connsiteY2" fmla="*/ 250825 h 1840230"/>
              <a:gd name="connisteX3" fmla="*/ 0 w 3577712"/>
              <a:gd name="connsiteY3" fmla="*/ 0 h 1840230"/>
            </a:gdLst>
            <a:ahLst/>
            <a:cxnLst>
              <a:cxn ang="0">
                <a:pos x="connisteX0" y="connsiteY0"/>
              </a:cxn>
              <a:cxn ang="0">
                <a:pos x="connisteX1" y="connsiteY1"/>
              </a:cxn>
              <a:cxn ang="0">
                <a:pos x="connisteX2" y="connsiteY2"/>
              </a:cxn>
              <a:cxn ang="0">
                <a:pos x="connisteX3" y="connsiteY3"/>
              </a:cxn>
            </a:cxnLst>
            <a:rect l="l" t="t" r="r" b="b"/>
            <a:pathLst>
              <a:path w="3577712" h="1840230">
                <a:moveTo>
                  <a:pt x="3570605" y="1840230"/>
                </a:moveTo>
                <a:cubicBezTo>
                  <a:pt x="3547745" y="1632585"/>
                  <a:pt x="3694430" y="1069340"/>
                  <a:pt x="3276600" y="751205"/>
                </a:cubicBezTo>
                <a:cubicBezTo>
                  <a:pt x="2858770" y="433070"/>
                  <a:pt x="2135505" y="401320"/>
                  <a:pt x="1480185" y="250825"/>
                </a:cubicBezTo>
                <a:cubicBezTo>
                  <a:pt x="824865" y="100330"/>
                  <a:pt x="260350" y="40005"/>
                  <a:pt x="0" y="0"/>
                </a:cubicBezTo>
              </a:path>
            </a:pathLst>
          </a:custGeom>
          <a:noFill/>
          <a:ln w="25400"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  <p:cxnSp>
        <p:nvCxnSpPr>
          <p:cNvPr id="37" name="直接连接符 36"/>
          <p:cNvCxnSpPr/>
          <p:nvPr/>
        </p:nvCxnSpPr>
        <p:spPr>
          <a:xfrm flipH="1">
            <a:off x="2154555" y="4190365"/>
            <a:ext cx="7685405" cy="53975"/>
          </a:xfrm>
          <a:prstGeom prst="line">
            <a:avLst/>
          </a:prstGeom>
          <a:ln w="28575" cmpd="sng">
            <a:solidFill>
              <a:srgbClr val="7030A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8" name="图片 3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499610" y="4296410"/>
            <a:ext cx="66675" cy="85725"/>
          </a:xfrm>
          <a:prstGeom prst="rect">
            <a:avLst/>
          </a:prstGeom>
        </p:spPr>
      </p:pic>
      <p:pic>
        <p:nvPicPr>
          <p:cNvPr id="39" name="图片 3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712335" y="4328160"/>
            <a:ext cx="66675" cy="85725"/>
          </a:xfrm>
          <a:prstGeom prst="rect">
            <a:avLst/>
          </a:prstGeom>
        </p:spPr>
      </p:pic>
      <p:pic>
        <p:nvPicPr>
          <p:cNvPr id="40" name="图片 3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725160" y="4893310"/>
            <a:ext cx="66675" cy="85725"/>
          </a:xfrm>
          <a:prstGeom prst="rect">
            <a:avLst/>
          </a:prstGeom>
        </p:spPr>
      </p:pic>
      <p:pic>
        <p:nvPicPr>
          <p:cNvPr id="41" name="图片 4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649085" y="4474210"/>
            <a:ext cx="66675" cy="85725"/>
          </a:xfrm>
          <a:prstGeom prst="rect">
            <a:avLst/>
          </a:prstGeom>
        </p:spPr>
      </p:pic>
      <p:pic>
        <p:nvPicPr>
          <p:cNvPr id="42" name="图片 4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087360" y="4169410"/>
            <a:ext cx="66675" cy="85725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0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00938 -0.001575 L 0.005312 0.004721 L 0.009739 0.014258 L 0.013333 0.023795 L 0.018697 0.033332 L 0.023177 0.042869 L 0.029427 0.050740 L 0.032968 0.061851 L 0.038333 0.066666 L 0.077604 -0.007964 L 0.077604 -0.006390 L 0.076718 -0.006390 " pathEditMode="relative" rAng="0" ptsTypes="">
                                      <p:cBhvr>
                                        <p:cTn id="6" dur="3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9" y="31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3000"/>
                            </p:stCondLst>
                            <p:childTnLst>
                              <p:par>
                                <p:cTn id="8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1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6" presetClass="emph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36" dur="2000" fill="hold"/>
                                        <p:tgtEl>
                                          <p:spTgt spid="38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1" fill="hold">
                            <p:stCondLst>
                              <p:cond delay="0"/>
                            </p:stCondLst>
                            <p:childTnLst>
                              <p:par>
                                <p:cTn id="42" presetID="6" presetClass="emph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43" dur="2000" fill="hold"/>
                                        <p:tgtEl>
                                          <p:spTgt spid="39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4" fill="hold">
                      <p:stCondLst>
                        <p:cond delay="indefinite"/>
                      </p:stCondLst>
                      <p:childTnLst>
                        <p:par>
                          <p:cTn id="45" fill="hold">
                            <p:stCondLst>
                              <p:cond delay="0"/>
                            </p:stCondLst>
                            <p:childTnLst>
                              <p:par>
                                <p:cTn id="46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6" presetClass="emph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50" dur="2000" fill="hold"/>
                                        <p:tgtEl>
                                          <p:spTgt spid="40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5" fill="hold">
                            <p:stCondLst>
                              <p:cond delay="0"/>
                            </p:stCondLst>
                            <p:childTnLst>
                              <p:par>
                                <p:cTn id="56" presetID="6" presetClass="emph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57" dur="2000" fill="hold"/>
                                        <p:tgtEl>
                                          <p:spTgt spid="41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8" fill="hold">
                      <p:stCondLst>
                        <p:cond delay="indefinite"/>
                      </p:stCondLst>
                      <p:childTnLst>
                        <p:par>
                          <p:cTn id="59" fill="hold">
                            <p:stCondLst>
                              <p:cond delay="0"/>
                            </p:stCondLst>
                            <p:childTnLst>
                              <p:par>
                                <p:cTn id="60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2" fill="hold">
                            <p:stCondLst>
                              <p:cond delay="0"/>
                            </p:stCondLst>
                            <p:childTnLst>
                              <p:par>
                                <p:cTn id="63" presetID="6" presetClass="emph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4" dur="2000" fill="hold"/>
                                        <p:tgtEl>
                                          <p:spTgt spid="42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4" grpId="0" animBg="1"/>
      <p:bldP spid="35" grpId="0" animBg="1"/>
    </p:bldLst>
  </p:timing>
</p:sld>
</file>

<file path=ppt/tags/tag1.xml><?xml version="1.0" encoding="utf-8"?>
<p:tagLst xmlns:p="http://schemas.openxmlformats.org/presentationml/2006/main">
  <p:tag name="THINKCELLSHAPEDONOTDELETE" val="thinkcellActiveDocDoNotDelete"/>
</p:tagLst>
</file>

<file path=ppt/tags/tag10.xml><?xml version="1.0" encoding="utf-8"?>
<p:tagLst xmlns:p="http://schemas.openxmlformats.org/presentationml/2006/main">
  <p:tag name="KSO_WM_UNIT_DIAGRAM_MODELTYPE" val="stripeEnum"/>
  <p:tag name="KSO_WM_UNIT_HIGHLIGHT" val="0"/>
  <p:tag name="KSO_WM_UNIT_COMPATIBLE" val="0"/>
  <p:tag name="KSO_WM_UNIT_DIAGRAM_ISNUMVISUAL" val="0"/>
  <p:tag name="KSO_WM_UNIT_DIAGRAM_ISREFERUNIT" val="0"/>
  <p:tag name="KSO_WM_DIAGRAM_GROUP_CODE" val="l1-1"/>
  <p:tag name="KSO_WM_UNIT_SUBTYPE" val="b"/>
  <p:tag name="KSO_WM_UNIT_TYPE" val="l_h_i"/>
  <p:tag name="KSO_WM_UNIT_INDEX" val="1_2_1"/>
  <p:tag name="KSO_WM_UNIT_ID" val="diagram20198937_1*l_h_i*1_2_1"/>
  <p:tag name="KSO_WM_TEMPLATE_CATEGORY" val="diagram"/>
  <p:tag name="KSO_WM_TEMPLATE_INDEX" val="20198937"/>
  <p:tag name="KSO_WM_UNIT_LAYERLEVEL" val="1_1_1"/>
  <p:tag name="KSO_WM_TAG_VERSION" val="1.0"/>
  <p:tag name="KSO_WM_BEAUTIFY_FLAG" val="#wm#"/>
  <p:tag name="KSO_WM_UNIT_FILL_FORE_SCHEMECOLOR_INDEX" val="9"/>
  <p:tag name="KSO_WM_UNIT_FILL_TYPE" val="1"/>
</p:tagLst>
</file>

<file path=ppt/tags/tag11.xml><?xml version="1.0" encoding="utf-8"?>
<p:tagLst xmlns:p="http://schemas.openxmlformats.org/presentationml/2006/main">
  <p:tag name="KSO_WM_UNIT_DIAGRAM_MODELTYPE" val="stripeEnum"/>
  <p:tag name="KSO_WM_UNIT_HIGHLIGHT" val="0"/>
  <p:tag name="KSO_WM_UNIT_COMPATIBLE" val="0"/>
  <p:tag name="KSO_WM_UNIT_DIAGRAM_ISNUMVISUAL" val="0"/>
  <p:tag name="KSO_WM_UNIT_DIAGRAM_ISREFERUNIT" val="0"/>
  <p:tag name="KSO_WM_DIAGRAM_GROUP_CODE" val="l1-1"/>
  <p:tag name="KSO_WM_UNIT_TYPE" val="l_h_i"/>
  <p:tag name="KSO_WM_UNIT_INDEX" val="1_2_1"/>
  <p:tag name="KSO_WM_UNIT_ID" val="diagram20198937_1*l_h_i*1_2_1"/>
  <p:tag name="KSO_WM_TEMPLATE_CATEGORY" val="diagram"/>
  <p:tag name="KSO_WM_TEMPLATE_INDEX" val="20198937"/>
  <p:tag name="KSO_WM_UNIT_LAYERLEVEL" val="1_1_1"/>
  <p:tag name="KSO_WM_TAG_VERSION" val="1.0"/>
  <p:tag name="KSO_WM_BEAUTIFY_FLAG" val="#wm#"/>
  <p:tag name="KSO_WM_UNIT_FILL_FORE_SCHEMECOLOR_INDEX" val="9"/>
  <p:tag name="KSO_WM_UNIT_FILL_TYPE" val="1"/>
  <p:tag name="KSO_WM_UNIT_TEXT_FILL_FORE_SCHEMECOLOR_INDEX" val="14"/>
  <p:tag name="KSO_WM_UNIT_TEXT_FILL_TYPE" val="1"/>
</p:tagLst>
</file>

<file path=ppt/tags/tag12.xml><?xml version="1.0" encoding="utf-8"?>
<p:tagLst xmlns:p="http://schemas.openxmlformats.org/presentationml/2006/main">
  <p:tag name="KSO_WM_UNIT_DIAGRAM_MODELTYPE" val="stripeEnum"/>
  <p:tag name="KSO_WM_UNIT_HIGHLIGHT" val="0"/>
  <p:tag name="KSO_WM_UNIT_COMPATIBLE" val="0"/>
  <p:tag name="KSO_WM_UNIT_DIAGRAM_ISNUMVISUAL" val="0"/>
  <p:tag name="KSO_WM_UNIT_DIAGRAM_ISREFERUNIT" val="0"/>
  <p:tag name="KSO_WM_DIAGRAM_GROUP_CODE" val="l1-1"/>
  <p:tag name="KSO_WM_UNIT_TYPE" val="l_h_i"/>
  <p:tag name="KSO_WM_UNIT_INDEX" val="1_2_2"/>
  <p:tag name="KSO_WM_UNIT_ID" val="diagram20198937_1*l_h_i*1_2_2"/>
  <p:tag name="KSO_WM_TEMPLATE_CATEGORY" val="diagram"/>
  <p:tag name="KSO_WM_TEMPLATE_INDEX" val="20198937"/>
  <p:tag name="KSO_WM_UNIT_LAYERLEVEL" val="1_1_1"/>
  <p:tag name="KSO_WM_TAG_VERSION" val="1.0"/>
  <p:tag name="KSO_WM_BEAUTIFY_FLAG" val="#wm#"/>
  <p:tag name="KSO_WM_UNIT_FILL_FORE_SCHEMECOLOR_INDEX" val="9"/>
  <p:tag name="KSO_WM_UNIT_FILL_TYPE" val="1"/>
  <p:tag name="KSO_WM_UNIT_TEXT_FILL_FORE_SCHEMECOLOR_INDEX" val="14"/>
  <p:tag name="KSO_WM_UNIT_TEXT_FILL_TYPE" val="1"/>
</p:tagLst>
</file>

<file path=ppt/tags/tag13.xml><?xml version="1.0" encoding="utf-8"?>
<p:tagLst xmlns:p="http://schemas.openxmlformats.org/presentationml/2006/main">
  <p:tag name="KSO_WM_UNIT_DIAGRAM_MODELTYPE" val="stripeEnum"/>
  <p:tag name="KSO_WM_UNIT_ISCONTENTSTITLE" val="0"/>
  <p:tag name="KSO_WM_UNIT_NOCLEAR" val="0"/>
  <p:tag name="KSO_WM_UNIT_VALUE" val="8"/>
  <p:tag name="KSO_WM_UNIT_HIGHLIGHT" val="0"/>
  <p:tag name="KSO_WM_UNIT_COMPATIBLE" val="0"/>
  <p:tag name="KSO_WM_UNIT_DIAGRAM_ISNUMVISUAL" val="0"/>
  <p:tag name="KSO_WM_UNIT_DIAGRAM_ISREFERUNIT" val="0"/>
  <p:tag name="KSO_WM_DIAGRAM_GROUP_CODE" val="l1-1"/>
  <p:tag name="KSO_WM_UNIT_TYPE" val="l_h_a"/>
  <p:tag name="KSO_WM_UNIT_INDEX" val="1_2_1"/>
  <p:tag name="KSO_WM_UNIT_ID" val="diagram20198937_1*l_h_a*1_2_1"/>
  <p:tag name="KSO_WM_TEMPLATE_CATEGORY" val="diagram"/>
  <p:tag name="KSO_WM_TEMPLATE_INDEX" val="20198937"/>
  <p:tag name="KSO_WM_UNIT_LAYERLEVEL" val="1_1_1"/>
  <p:tag name="KSO_WM_TAG_VERSION" val="1.0"/>
  <p:tag name="KSO_WM_BEAUTIFY_FLAG" val="#wm#"/>
  <p:tag name="KSO_WM_UNIT_PRESET_TEXT" val="添加标题"/>
  <p:tag name="KSO_WM_UNIT_TEXT_FILL_FORE_SCHEMECOLOR_INDEX" val="14"/>
  <p:tag name="KSO_WM_UNIT_TEXT_FILL_TYPE" val="1"/>
</p:tagLst>
</file>

<file path=ppt/tags/tag14.xml><?xml version="1.0" encoding="utf-8"?>
<p:tagLst xmlns:p="http://schemas.openxmlformats.org/presentationml/2006/main">
  <p:tag name="KSO_WM_UNIT_DIAGRAM_MODELTYPE" val="stripeEnum"/>
  <p:tag name="KSO_WM_UNIT_NOCLEAR" val="0"/>
  <p:tag name="KSO_WM_UNIT_VALUE" val="87"/>
  <p:tag name="KSO_WM_UNIT_HIGHLIGHT" val="0"/>
  <p:tag name="KSO_WM_UNIT_COMPATIBLE" val="0"/>
  <p:tag name="KSO_WM_UNIT_DIAGRAM_ISNUMVISUAL" val="0"/>
  <p:tag name="KSO_WM_UNIT_DIAGRAM_ISREFERUNIT" val="0"/>
  <p:tag name="KSO_WM_DIAGRAM_GROUP_CODE" val="l1-1"/>
  <p:tag name="KSO_WM_UNIT_TYPE" val="l_h_f"/>
  <p:tag name="KSO_WM_UNIT_INDEX" val="1_2_1"/>
  <p:tag name="KSO_WM_UNIT_ID" val="diagram20198937_1*l_h_f*1_2_1"/>
  <p:tag name="KSO_WM_TEMPLATE_CATEGORY" val="diagram"/>
  <p:tag name="KSO_WM_TEMPLATE_INDEX" val="20198937"/>
  <p:tag name="KSO_WM_UNIT_LAYERLEVEL" val="1_1_1"/>
  <p:tag name="KSO_WM_TAG_VERSION" val="1.0"/>
  <p:tag name="KSO_WM_BEAUTIFY_FLAG" val="#wm#"/>
  <p:tag name="KSO_WM_UNIT_PRESET_TEXT" val="单击此处添加文本具体内容，简明扼要的阐述您的观点。根据需要可酌情增减文字，以便观者准确的理解您传达的思想。"/>
  <p:tag name="KSO_WM_UNIT_TEXT_FILL_FORE_SCHEMECOLOR_INDEX" val="13"/>
  <p:tag name="KSO_WM_UNIT_TEXT_FILL_TYPE" val="1"/>
</p:tagLst>
</file>

<file path=ppt/tags/tag15.xml><?xml version="1.0" encoding="utf-8"?>
<p:tagLst xmlns:p="http://schemas.openxmlformats.org/presentationml/2006/main">
  <p:tag name="ISLIDE.DIAGRAM" val="2b751056-6b97-492c-b763-340acee7e99d"/>
</p:tagLst>
</file>

<file path=ppt/tags/tag16.xml><?xml version="1.0" encoding="utf-8"?>
<p:tagLst xmlns:p="http://schemas.openxmlformats.org/presentationml/2006/main">
  <p:tag name="REFSHAPE" val="1265813228"/>
  <p:tag name="KSO_WM_UNIT_PLACING_PICTURE_USER_VIEWPORT" val="{&quot;height&quot;:2970,&quot;width&quot;:16170}"/>
</p:tagLst>
</file>

<file path=ppt/tags/tag17.xml><?xml version="1.0" encoding="utf-8"?>
<p:tagLst xmlns:p="http://schemas.openxmlformats.org/presentationml/2006/main">
  <p:tag name="REFSHAPE" val="1270714468"/>
</p:tagLst>
</file>

<file path=ppt/tags/tag18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DIAGRAM_GROUP_CODE" val="l1-1"/>
  <p:tag name="KSO_WM_UNIT_TYPE" val="l_h_i"/>
  <p:tag name="KSO_WM_UNIT_INDEX" val="1_3_2"/>
  <p:tag name="KSO_WM_UNIT_ID" val="diagram20187706_3*l_h_i*1_3_2"/>
  <p:tag name="KSO_WM_TEMPLATE_CATEGORY" val="diagram"/>
  <p:tag name="KSO_WM_TEMPLATE_INDEX" val="20187706"/>
  <p:tag name="KSO_WM_UNIT_LAYERLEVEL" val="1_1_1"/>
  <p:tag name="KSO_WM_TAG_VERSION" val="1.0"/>
  <p:tag name="KSO_WM_BEAUTIFY_FLAG" val="#wm#"/>
  <p:tag name="KSO_WM_UNIT_FILL_FORE_SCHEMECOLOR_INDEX" val="7"/>
  <p:tag name="KSO_WM_UNIT_FILL_TYPE" val="1"/>
  <p:tag name="KSO_WM_UNIT_TEXT_FILL_FORE_SCHEMECOLOR_INDEX" val="2"/>
  <p:tag name="KSO_WM_UNIT_TEXT_FILL_TYPE" val="1"/>
</p:tagLst>
</file>

<file path=ppt/tags/tag19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DIAGRAM_GROUP_CODE" val="l1-1"/>
  <p:tag name="KSO_WM_UNIT_TYPE" val="l_h_i"/>
  <p:tag name="KSO_WM_UNIT_INDEX" val="1_1_1"/>
  <p:tag name="KSO_WM_UNIT_ID" val="diagram20187706_3*l_h_i*1_1_1"/>
  <p:tag name="KSO_WM_TEMPLATE_CATEGORY" val="diagram"/>
  <p:tag name="KSO_WM_TEMPLATE_INDEX" val="20187706"/>
  <p:tag name="KSO_WM_UNIT_LAYERLEVEL" val="1_1_1"/>
  <p:tag name="KSO_WM_TAG_VERSION" val="1.0"/>
  <p:tag name="KSO_WM_BEAUTIFY_FLAG" val="#wm#"/>
  <p:tag name="KSO_WM_UNIT_FILL_FORE_SCHEMECOLOR_INDEX" val="5"/>
  <p:tag name="KSO_WM_UNIT_FILL_TYPE" val="1"/>
  <p:tag name="KSO_WM_UNIT_TEXT_FILL_FORE_SCHEMECOLOR_INDEX" val="13"/>
  <p:tag name="KSO_WM_UNIT_TEXT_FILL_TYPE" val="1"/>
</p:tagLst>
</file>

<file path=ppt/tags/tag2.xml><?xml version="1.0" encoding="utf-8"?>
<p:tagLst xmlns:p="http://schemas.openxmlformats.org/presentationml/2006/main">
  <p:tag name="THINKCELLSHAPEDONOTDELETE" val="tA6S0wzOvQ8a50SA42PUNRg"/>
</p:tagLst>
</file>

<file path=ppt/tags/tag20.xml><?xml version="1.0" encoding="utf-8"?>
<p:tagLst xmlns:p="http://schemas.openxmlformats.org/presentationml/2006/main">
  <p:tag name="KSO_WM_UNIT_ISCONTENTSTITLE" val="0"/>
  <p:tag name="KSO_WM_UNIT_NOCLEAR" val="0"/>
  <p:tag name="KSO_WM_UNIT_VALUE" val="18"/>
  <p:tag name="KSO_WM_UNIT_HIGHLIGHT" val="0"/>
  <p:tag name="KSO_WM_UNIT_COMPATIBLE" val="0"/>
  <p:tag name="KSO_WM_UNIT_DIAGRAM_ISNUMVISUAL" val="0"/>
  <p:tag name="KSO_WM_UNIT_DIAGRAM_ISREFERUNIT" val="0"/>
  <p:tag name="KSO_WM_DIAGRAM_GROUP_CODE" val="l1-1"/>
  <p:tag name="KSO_WM_UNIT_TYPE" val="l_h_a"/>
  <p:tag name="KSO_WM_UNIT_INDEX" val="1_1_1"/>
  <p:tag name="KSO_WM_UNIT_ID" val="diagram20187706_3*l_h_a*1_1_1"/>
  <p:tag name="KSO_WM_TEMPLATE_CATEGORY" val="diagram"/>
  <p:tag name="KSO_WM_TEMPLATE_INDEX" val="20187706"/>
  <p:tag name="KSO_WM_UNIT_LAYERLEVEL" val="1_1_1"/>
  <p:tag name="KSO_WM_TAG_VERSION" val="1.0"/>
  <p:tag name="KSO_WM_BEAUTIFY_FLAG" val="#wm#"/>
  <p:tag name="KSO_WM_UNIT_PRESET_TEXT" val="添加标题"/>
  <p:tag name="KSO_WM_UNIT_TEXT_FILL_FORE_SCHEMECOLOR_INDEX" val="5"/>
  <p:tag name="KSO_WM_UNIT_TEXT_FILL_TYPE" val="1"/>
</p:tagLst>
</file>

<file path=ppt/tags/tag21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DIAGRAM_GROUP_CODE" val="l1-1"/>
  <p:tag name="KSO_WM_UNIT_TYPE" val="l_h_i"/>
  <p:tag name="KSO_WM_UNIT_INDEX" val="1_2_1"/>
  <p:tag name="KSO_WM_UNIT_ID" val="diagram20187706_3*l_h_i*1_2_1"/>
  <p:tag name="KSO_WM_TEMPLATE_CATEGORY" val="diagram"/>
  <p:tag name="KSO_WM_TEMPLATE_INDEX" val="20187706"/>
  <p:tag name="KSO_WM_UNIT_LAYERLEVEL" val="1_1_1"/>
  <p:tag name="KSO_WM_TAG_VERSION" val="1.0"/>
  <p:tag name="KSO_WM_BEAUTIFY_FLAG" val="#wm#"/>
  <p:tag name="KSO_WM_UNIT_FILL_FORE_SCHEMECOLOR_INDEX" val="6"/>
  <p:tag name="KSO_WM_UNIT_FILL_TYPE" val="1"/>
  <p:tag name="KSO_WM_UNIT_TEXT_FILL_FORE_SCHEMECOLOR_INDEX" val="13"/>
  <p:tag name="KSO_WM_UNIT_TEXT_FILL_TYPE" val="1"/>
</p:tagLst>
</file>

<file path=ppt/tags/tag22.xml><?xml version="1.0" encoding="utf-8"?>
<p:tagLst xmlns:p="http://schemas.openxmlformats.org/presentationml/2006/main">
  <p:tag name="KSO_WM_UNIT_ISCONTENTSTITLE" val="0"/>
  <p:tag name="KSO_WM_UNIT_NOCLEAR" val="0"/>
  <p:tag name="KSO_WM_UNIT_VALUE" val="18"/>
  <p:tag name="KSO_WM_UNIT_HIGHLIGHT" val="0"/>
  <p:tag name="KSO_WM_UNIT_COMPATIBLE" val="0"/>
  <p:tag name="KSO_WM_UNIT_DIAGRAM_ISNUMVISUAL" val="0"/>
  <p:tag name="KSO_WM_UNIT_DIAGRAM_ISREFERUNIT" val="0"/>
  <p:tag name="KSO_WM_DIAGRAM_GROUP_CODE" val="l1-1"/>
  <p:tag name="KSO_WM_UNIT_TYPE" val="l_h_a"/>
  <p:tag name="KSO_WM_UNIT_INDEX" val="1_2_1"/>
  <p:tag name="KSO_WM_UNIT_ID" val="diagram20187706_3*l_h_a*1_2_1"/>
  <p:tag name="KSO_WM_TEMPLATE_CATEGORY" val="diagram"/>
  <p:tag name="KSO_WM_TEMPLATE_INDEX" val="20187706"/>
  <p:tag name="KSO_WM_UNIT_LAYERLEVEL" val="1_1_1"/>
  <p:tag name="KSO_WM_TAG_VERSION" val="1.0"/>
  <p:tag name="KSO_WM_BEAUTIFY_FLAG" val="#wm#"/>
  <p:tag name="KSO_WM_UNIT_PRESET_TEXT" val="添加标题"/>
  <p:tag name="KSO_WM_UNIT_TEXT_FILL_FORE_SCHEMECOLOR_INDEX" val="6"/>
  <p:tag name="KSO_WM_UNIT_TEXT_FILL_TYPE" val="1"/>
</p:tagLst>
</file>

<file path=ppt/tags/tag23.xml><?xml version="1.0" encoding="utf-8"?>
<p:tagLst xmlns:p="http://schemas.openxmlformats.org/presentationml/2006/main">
  <p:tag name="KSO_WM_UNIT_NOCLEAR" val="0"/>
  <p:tag name="KSO_WM_UNIT_VALUE" val="24"/>
  <p:tag name="KSO_WM_UNIT_HIGHLIGHT" val="0"/>
  <p:tag name="KSO_WM_UNIT_COMPATIBLE" val="0"/>
  <p:tag name="KSO_WM_UNIT_DIAGRAM_ISNUMVISUAL" val="0"/>
  <p:tag name="KSO_WM_UNIT_DIAGRAM_ISREFERUNIT" val="0"/>
  <p:tag name="KSO_WM_DIAGRAM_GROUP_CODE" val="l1-1"/>
  <p:tag name="KSO_WM_UNIT_TYPE" val="l_h_f"/>
  <p:tag name="KSO_WM_UNIT_INDEX" val="1_2_1"/>
  <p:tag name="KSO_WM_UNIT_ID" val="diagram20187706_3*l_h_f*1_2_1"/>
  <p:tag name="KSO_WM_TEMPLATE_CATEGORY" val="diagram"/>
  <p:tag name="KSO_WM_TEMPLATE_INDEX" val="20187706"/>
  <p:tag name="KSO_WM_UNIT_LAYERLEVEL" val="1_1_1"/>
  <p:tag name="KSO_WM_TAG_VERSION" val="1.0"/>
  <p:tag name="KSO_WM_BEAUTIFY_FLAG" val="#wm#"/>
  <p:tag name="KSO_WM_UNIT_PRESET_TEXT" val="单击此处添加文本具体内容，简明扼要的阐述您的观点。"/>
  <p:tag name="KSO_WM_UNIT_TEXT_FILL_FORE_SCHEMECOLOR_INDEX" val="13"/>
  <p:tag name="KSO_WM_UNIT_TEXT_FILL_TYPE" val="1"/>
</p:tagLst>
</file>

<file path=ppt/tags/tag24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DIAGRAM_GROUP_CODE" val="l1-1"/>
  <p:tag name="KSO_WM_UNIT_TYPE" val="l_h_i"/>
  <p:tag name="KSO_WM_UNIT_INDEX" val="1_3_1"/>
  <p:tag name="KSO_WM_UNIT_ID" val="diagram20187706_3*l_h_i*1_3_1"/>
  <p:tag name="KSO_WM_TEMPLATE_CATEGORY" val="diagram"/>
  <p:tag name="KSO_WM_TEMPLATE_INDEX" val="20187706"/>
  <p:tag name="KSO_WM_UNIT_LAYERLEVEL" val="1_1_1"/>
  <p:tag name="KSO_WM_TAG_VERSION" val="1.0"/>
  <p:tag name="KSO_WM_BEAUTIFY_FLAG" val="#wm#"/>
  <p:tag name="KSO_WM_UNIT_FILL_FORE_SCHEMECOLOR_INDEX" val="7"/>
  <p:tag name="KSO_WM_UNIT_FILL_TYPE" val="1"/>
  <p:tag name="KSO_WM_UNIT_TEXT_FILL_FORE_SCHEMECOLOR_INDEX" val="13"/>
  <p:tag name="KSO_WM_UNIT_TEXT_FILL_TYPE" val="1"/>
</p:tagLst>
</file>

<file path=ppt/tags/tag25.xml><?xml version="1.0" encoding="utf-8"?>
<p:tagLst xmlns:p="http://schemas.openxmlformats.org/presentationml/2006/main">
  <p:tag name="KSO_WM_UNIT_ISCONTENTSTITLE" val="0"/>
  <p:tag name="KSO_WM_UNIT_NOCLEAR" val="0"/>
  <p:tag name="KSO_WM_UNIT_VALUE" val="18"/>
  <p:tag name="KSO_WM_UNIT_HIGHLIGHT" val="0"/>
  <p:tag name="KSO_WM_UNIT_COMPATIBLE" val="0"/>
  <p:tag name="KSO_WM_UNIT_DIAGRAM_ISNUMVISUAL" val="0"/>
  <p:tag name="KSO_WM_UNIT_DIAGRAM_ISREFERUNIT" val="0"/>
  <p:tag name="KSO_WM_DIAGRAM_GROUP_CODE" val="l1-1"/>
  <p:tag name="KSO_WM_UNIT_TYPE" val="l_h_a"/>
  <p:tag name="KSO_WM_UNIT_INDEX" val="1_3_1"/>
  <p:tag name="KSO_WM_UNIT_ID" val="diagram20187706_3*l_h_a*1_3_1"/>
  <p:tag name="KSO_WM_TEMPLATE_CATEGORY" val="diagram"/>
  <p:tag name="KSO_WM_TEMPLATE_INDEX" val="20187706"/>
  <p:tag name="KSO_WM_UNIT_LAYERLEVEL" val="1_1_1"/>
  <p:tag name="KSO_WM_TAG_VERSION" val="1.0"/>
  <p:tag name="KSO_WM_BEAUTIFY_FLAG" val="#wm#"/>
  <p:tag name="KSO_WM_UNIT_PRESET_TEXT" val="添加标题"/>
  <p:tag name="KSO_WM_UNIT_TEXT_FILL_FORE_SCHEMECOLOR_INDEX" val="7"/>
  <p:tag name="KSO_WM_UNIT_TEXT_FILL_TYPE" val="1"/>
</p:tagLst>
</file>

<file path=ppt/tags/tag26.xml><?xml version="1.0" encoding="utf-8"?>
<p:tagLst xmlns:p="http://schemas.openxmlformats.org/presentationml/2006/main">
  <p:tag name="KSO_WM_UNIT_NOCLEAR" val="0"/>
  <p:tag name="KSO_WM_UNIT_VALUE" val="24"/>
  <p:tag name="KSO_WM_UNIT_HIGHLIGHT" val="0"/>
  <p:tag name="KSO_WM_UNIT_COMPATIBLE" val="0"/>
  <p:tag name="KSO_WM_UNIT_DIAGRAM_ISNUMVISUAL" val="0"/>
  <p:tag name="KSO_WM_UNIT_DIAGRAM_ISREFERUNIT" val="0"/>
  <p:tag name="KSO_WM_DIAGRAM_GROUP_CODE" val="l1-1"/>
  <p:tag name="KSO_WM_UNIT_TYPE" val="l_h_f"/>
  <p:tag name="KSO_WM_UNIT_INDEX" val="1_3_1"/>
  <p:tag name="KSO_WM_UNIT_ID" val="diagram20187706_3*l_h_f*1_3_1"/>
  <p:tag name="KSO_WM_TEMPLATE_CATEGORY" val="diagram"/>
  <p:tag name="KSO_WM_TEMPLATE_INDEX" val="20187706"/>
  <p:tag name="KSO_WM_UNIT_LAYERLEVEL" val="1_1_1"/>
  <p:tag name="KSO_WM_TAG_VERSION" val="1.0"/>
  <p:tag name="KSO_WM_BEAUTIFY_FLAG" val="#wm#"/>
  <p:tag name="KSO_WM_UNIT_PRESET_TEXT" val="单击此处添加文本具体内容，简明扼要的阐述您的观点。"/>
  <p:tag name="KSO_WM_UNIT_TEXT_FILL_FORE_SCHEMECOLOR_INDEX" val="13"/>
  <p:tag name="KSO_WM_UNIT_TEXT_FILL_TYPE" val="1"/>
</p:tagLst>
</file>

<file path=ppt/tags/tag27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DIAGRAM_GROUP_CODE" val="l1-1"/>
  <p:tag name="KSO_WM_UNIT_TYPE" val="l_h_i"/>
  <p:tag name="KSO_WM_UNIT_INDEX" val="1_2_2"/>
  <p:tag name="KSO_WM_UNIT_ID" val="diagram20187706_3*l_h_i*1_2_2"/>
  <p:tag name="KSO_WM_TEMPLATE_CATEGORY" val="diagram"/>
  <p:tag name="KSO_WM_TEMPLATE_INDEX" val="20187706"/>
  <p:tag name="KSO_WM_UNIT_LAYERLEVEL" val="1_1_1"/>
  <p:tag name="KSO_WM_TAG_VERSION" val="1.0"/>
  <p:tag name="KSO_WM_BEAUTIFY_FLAG" val="#wm#"/>
  <p:tag name="KSO_WM_UNIT_FILL_FORE_SCHEMECOLOR_INDEX" val="6"/>
  <p:tag name="KSO_WM_UNIT_FILL_TYPE" val="1"/>
  <p:tag name="KSO_WM_UNIT_TEXT_FILL_FORE_SCHEMECOLOR_INDEX" val="2"/>
  <p:tag name="KSO_WM_UNIT_TEXT_FILL_TYPE" val="1"/>
</p:tagLst>
</file>

<file path=ppt/tags/tag28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DIAGRAM_GROUP_CODE" val="l1-1"/>
  <p:tag name="KSO_WM_UNIT_TYPE" val="l_h_i"/>
  <p:tag name="KSO_WM_UNIT_INDEX" val="1_1_2"/>
  <p:tag name="KSO_WM_UNIT_ID" val="diagram20187706_3*l_h_i*1_1_2"/>
  <p:tag name="KSO_WM_TEMPLATE_CATEGORY" val="diagram"/>
  <p:tag name="KSO_WM_TEMPLATE_INDEX" val="20187706"/>
  <p:tag name="KSO_WM_UNIT_LAYERLEVEL" val="1_1_1"/>
  <p:tag name="KSO_WM_TAG_VERSION" val="1.0"/>
  <p:tag name="KSO_WM_BEAUTIFY_FLAG" val="#wm#"/>
  <p:tag name="KSO_WM_UNIT_FILL_FORE_SCHEMECOLOR_INDEX" val="5"/>
  <p:tag name="KSO_WM_UNIT_FILL_TYPE" val="1"/>
  <p:tag name="KSO_WM_UNIT_TEXT_FILL_FORE_SCHEMECOLOR_INDEX" val="2"/>
  <p:tag name="KSO_WM_UNIT_TEXT_FILL_TYPE" val="1"/>
</p:tagLst>
</file>

<file path=ppt/tags/tag29.xml><?xml version="1.0" encoding="utf-8"?>
<p:tagLst xmlns:p="http://schemas.openxmlformats.org/presentationml/2006/main">
  <p:tag name="KSO_WM_UNIT_NOCLEAR" val="0"/>
  <p:tag name="KSO_WM_UNIT_VALUE" val="24"/>
  <p:tag name="KSO_WM_UNIT_HIGHLIGHT" val="0"/>
  <p:tag name="KSO_WM_UNIT_COMPATIBLE" val="0"/>
  <p:tag name="KSO_WM_UNIT_DIAGRAM_ISNUMVISUAL" val="0"/>
  <p:tag name="KSO_WM_UNIT_DIAGRAM_ISREFERUNIT" val="0"/>
  <p:tag name="KSO_WM_DIAGRAM_GROUP_CODE" val="l1-1"/>
  <p:tag name="KSO_WM_UNIT_TYPE" val="l_h_f"/>
  <p:tag name="KSO_WM_UNIT_INDEX" val="1_1_1"/>
  <p:tag name="KSO_WM_UNIT_ID" val="diagram20187706_3*l_h_f*1_1_1"/>
  <p:tag name="KSO_WM_TEMPLATE_CATEGORY" val="diagram"/>
  <p:tag name="KSO_WM_TEMPLATE_INDEX" val="20187706"/>
  <p:tag name="KSO_WM_UNIT_LAYERLEVEL" val="1_1_1"/>
  <p:tag name="KSO_WM_TAG_VERSION" val="1.0"/>
  <p:tag name="KSO_WM_BEAUTIFY_FLAG" val="#wm#"/>
  <p:tag name="KSO_WM_UNIT_PRESET_TEXT" val="单击此处添加文本具体内容，简明扼要的阐述您的观点。"/>
  <p:tag name="KSO_WM_UNIT_TEXT_FILL_FORE_SCHEMECOLOR_INDEX" val="13"/>
  <p:tag name="KSO_WM_UNIT_TEXT_FILL_TYPE" val="1"/>
</p:tagLst>
</file>

<file path=ppt/tags/tag3.xml><?xml version="1.0" encoding="utf-8"?>
<p:tagLst xmlns:p="http://schemas.openxmlformats.org/presentationml/2006/main">
  <p:tag name="ISLIDE.DIAGRAM" val="2b751056-6b97-492c-b763-340acee7e99d"/>
</p:tagLst>
</file>

<file path=ppt/tags/tag30.xml><?xml version="1.0" encoding="utf-8"?>
<p:tagLst xmlns:p="http://schemas.openxmlformats.org/presentationml/2006/main">
  <p:tag name="REFSHAPE" val="800212108"/>
  <p:tag name="KSO_WM_UNIT_PLACING_PICTURE_USER_VIEWPORT" val="{&quot;height&quot;:3105,&quot;width&quot;:11025}"/>
</p:tagLst>
</file>

<file path=ppt/tags/tag31.xml><?xml version="1.0" encoding="utf-8"?>
<p:tagLst xmlns:p="http://schemas.openxmlformats.org/presentationml/2006/main">
  <p:tag name="REFSHAPE" val="800212108"/>
  <p:tag name="KSO_WM_UNIT_PLACING_PICTURE_USER_VIEWPORT" val="{&quot;height&quot;:3105,&quot;width&quot;:11025}"/>
</p:tagLst>
</file>

<file path=ppt/tags/tag32.xml><?xml version="1.0" encoding="utf-8"?>
<p:tagLst xmlns:p="http://schemas.openxmlformats.org/presentationml/2006/main">
  <p:tag name="REFSHAPE" val="800212108"/>
  <p:tag name="KSO_WM_UNIT_PLACING_PICTURE_USER_VIEWPORT" val="{&quot;height&quot;:3105,&quot;width&quot;:11025}"/>
</p:tagLst>
</file>

<file path=ppt/tags/tag33.xml><?xml version="1.0" encoding="utf-8"?>
<p:tagLst xmlns:p="http://schemas.openxmlformats.org/presentationml/2006/main">
  <p:tag name="REFSHAPE" val="800212108"/>
  <p:tag name="KSO_WM_UNIT_PLACING_PICTURE_USER_VIEWPORT" val="{&quot;height&quot;:3105,&quot;width&quot;:11025}"/>
</p:tagLst>
</file>

<file path=ppt/tags/tag34.xml><?xml version="1.0" encoding="utf-8"?>
<p:tagLst xmlns:p="http://schemas.openxmlformats.org/presentationml/2006/main">
  <p:tag name="REFSHAPE" val="1270714468"/>
</p:tagLst>
</file>

<file path=ppt/tags/tag35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DIAGRAM_GROUP_CODE" val="l1-1"/>
  <p:tag name="KSO_WM_UNIT_TYPE" val="l_h_i"/>
  <p:tag name="KSO_WM_UNIT_INDEX" val="1_3_2"/>
  <p:tag name="KSO_WM_UNIT_ID" val="diagram20187706_3*l_h_i*1_3_2"/>
  <p:tag name="KSO_WM_TEMPLATE_CATEGORY" val="diagram"/>
  <p:tag name="KSO_WM_TEMPLATE_INDEX" val="20187706"/>
  <p:tag name="KSO_WM_UNIT_LAYERLEVEL" val="1_1_1"/>
  <p:tag name="KSO_WM_TAG_VERSION" val="1.0"/>
  <p:tag name="KSO_WM_BEAUTIFY_FLAG" val="#wm#"/>
  <p:tag name="KSO_WM_UNIT_FILL_FORE_SCHEMECOLOR_INDEX" val="7"/>
  <p:tag name="KSO_WM_UNIT_FILL_TYPE" val="1"/>
  <p:tag name="KSO_WM_UNIT_TEXT_FILL_FORE_SCHEMECOLOR_INDEX" val="2"/>
  <p:tag name="KSO_WM_UNIT_TEXT_FILL_TYPE" val="1"/>
</p:tagLst>
</file>

<file path=ppt/tags/tag36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DIAGRAM_GROUP_CODE" val="l1-1"/>
  <p:tag name="KSO_WM_UNIT_TYPE" val="l_h_i"/>
  <p:tag name="KSO_WM_UNIT_INDEX" val="1_1_1"/>
  <p:tag name="KSO_WM_UNIT_ID" val="diagram20187706_3*l_h_i*1_1_1"/>
  <p:tag name="KSO_WM_TEMPLATE_CATEGORY" val="diagram"/>
  <p:tag name="KSO_WM_TEMPLATE_INDEX" val="20187706"/>
  <p:tag name="KSO_WM_UNIT_LAYERLEVEL" val="1_1_1"/>
  <p:tag name="KSO_WM_TAG_VERSION" val="1.0"/>
  <p:tag name="KSO_WM_BEAUTIFY_FLAG" val="#wm#"/>
  <p:tag name="KSO_WM_UNIT_FILL_FORE_SCHEMECOLOR_INDEX" val="5"/>
  <p:tag name="KSO_WM_UNIT_FILL_TYPE" val="1"/>
  <p:tag name="KSO_WM_UNIT_TEXT_FILL_FORE_SCHEMECOLOR_INDEX" val="13"/>
  <p:tag name="KSO_WM_UNIT_TEXT_FILL_TYPE" val="1"/>
</p:tagLst>
</file>

<file path=ppt/tags/tag37.xml><?xml version="1.0" encoding="utf-8"?>
<p:tagLst xmlns:p="http://schemas.openxmlformats.org/presentationml/2006/main">
  <p:tag name="KSO_WM_UNIT_ISCONTENTSTITLE" val="0"/>
  <p:tag name="KSO_WM_UNIT_NOCLEAR" val="0"/>
  <p:tag name="KSO_WM_UNIT_VALUE" val="18"/>
  <p:tag name="KSO_WM_UNIT_HIGHLIGHT" val="0"/>
  <p:tag name="KSO_WM_UNIT_COMPATIBLE" val="0"/>
  <p:tag name="KSO_WM_UNIT_DIAGRAM_ISNUMVISUAL" val="0"/>
  <p:tag name="KSO_WM_UNIT_DIAGRAM_ISREFERUNIT" val="0"/>
  <p:tag name="KSO_WM_DIAGRAM_GROUP_CODE" val="l1-1"/>
  <p:tag name="KSO_WM_UNIT_TYPE" val="l_h_a"/>
  <p:tag name="KSO_WM_UNIT_INDEX" val="1_1_1"/>
  <p:tag name="KSO_WM_UNIT_ID" val="diagram20187706_3*l_h_a*1_1_1"/>
  <p:tag name="KSO_WM_TEMPLATE_CATEGORY" val="diagram"/>
  <p:tag name="KSO_WM_TEMPLATE_INDEX" val="20187706"/>
  <p:tag name="KSO_WM_UNIT_LAYERLEVEL" val="1_1_1"/>
  <p:tag name="KSO_WM_TAG_VERSION" val="1.0"/>
  <p:tag name="KSO_WM_BEAUTIFY_FLAG" val="#wm#"/>
  <p:tag name="KSO_WM_UNIT_PRESET_TEXT" val="添加标题"/>
  <p:tag name="KSO_WM_UNIT_TEXT_FILL_FORE_SCHEMECOLOR_INDEX" val="5"/>
  <p:tag name="KSO_WM_UNIT_TEXT_FILL_TYPE" val="1"/>
</p:tagLst>
</file>

<file path=ppt/tags/tag38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DIAGRAM_GROUP_CODE" val="l1-1"/>
  <p:tag name="KSO_WM_UNIT_TYPE" val="l_h_i"/>
  <p:tag name="KSO_WM_UNIT_INDEX" val="1_2_1"/>
  <p:tag name="KSO_WM_UNIT_ID" val="diagram20187706_3*l_h_i*1_2_1"/>
  <p:tag name="KSO_WM_TEMPLATE_CATEGORY" val="diagram"/>
  <p:tag name="KSO_WM_TEMPLATE_INDEX" val="20187706"/>
  <p:tag name="KSO_WM_UNIT_LAYERLEVEL" val="1_1_1"/>
  <p:tag name="KSO_WM_TAG_VERSION" val="1.0"/>
  <p:tag name="KSO_WM_BEAUTIFY_FLAG" val="#wm#"/>
  <p:tag name="KSO_WM_UNIT_FILL_FORE_SCHEMECOLOR_INDEX" val="6"/>
  <p:tag name="KSO_WM_UNIT_FILL_TYPE" val="1"/>
  <p:tag name="KSO_WM_UNIT_TEXT_FILL_FORE_SCHEMECOLOR_INDEX" val="13"/>
  <p:tag name="KSO_WM_UNIT_TEXT_FILL_TYPE" val="1"/>
</p:tagLst>
</file>

<file path=ppt/tags/tag39.xml><?xml version="1.0" encoding="utf-8"?>
<p:tagLst xmlns:p="http://schemas.openxmlformats.org/presentationml/2006/main">
  <p:tag name="KSO_WM_UNIT_ISCONTENTSTITLE" val="0"/>
  <p:tag name="KSO_WM_UNIT_NOCLEAR" val="0"/>
  <p:tag name="KSO_WM_UNIT_VALUE" val="18"/>
  <p:tag name="KSO_WM_UNIT_HIGHLIGHT" val="0"/>
  <p:tag name="KSO_WM_UNIT_COMPATIBLE" val="0"/>
  <p:tag name="KSO_WM_UNIT_DIAGRAM_ISNUMVISUAL" val="0"/>
  <p:tag name="KSO_WM_UNIT_DIAGRAM_ISREFERUNIT" val="0"/>
  <p:tag name="KSO_WM_DIAGRAM_GROUP_CODE" val="l1-1"/>
  <p:tag name="KSO_WM_UNIT_TYPE" val="l_h_a"/>
  <p:tag name="KSO_WM_UNIT_INDEX" val="1_2_1"/>
  <p:tag name="KSO_WM_UNIT_ID" val="diagram20187706_3*l_h_a*1_2_1"/>
  <p:tag name="KSO_WM_TEMPLATE_CATEGORY" val="diagram"/>
  <p:tag name="KSO_WM_TEMPLATE_INDEX" val="20187706"/>
  <p:tag name="KSO_WM_UNIT_LAYERLEVEL" val="1_1_1"/>
  <p:tag name="KSO_WM_TAG_VERSION" val="1.0"/>
  <p:tag name="KSO_WM_BEAUTIFY_FLAG" val="#wm#"/>
  <p:tag name="KSO_WM_UNIT_PRESET_TEXT" val="添加标题"/>
  <p:tag name="KSO_WM_UNIT_TEXT_FILL_FORE_SCHEMECOLOR_INDEX" val="6"/>
  <p:tag name="KSO_WM_UNIT_TEXT_FILL_TYPE" val="1"/>
</p:tagLst>
</file>

<file path=ppt/tags/tag4.xml><?xml version="1.0" encoding="utf-8"?>
<p:tagLst xmlns:p="http://schemas.openxmlformats.org/presentationml/2006/main">
  <p:tag name="ISLIDE.DIAGRAM" val="2b751056-6b97-492c-b763-340acee7e99d"/>
</p:tagLst>
</file>

<file path=ppt/tags/tag40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DIAGRAM_GROUP_CODE" val="l1-1"/>
  <p:tag name="KSO_WM_UNIT_TYPE" val="l_h_i"/>
  <p:tag name="KSO_WM_UNIT_INDEX" val="1_2_2"/>
  <p:tag name="KSO_WM_UNIT_ID" val="diagram20187706_3*l_h_i*1_2_2"/>
  <p:tag name="KSO_WM_TEMPLATE_CATEGORY" val="diagram"/>
  <p:tag name="KSO_WM_TEMPLATE_INDEX" val="20187706"/>
  <p:tag name="KSO_WM_UNIT_LAYERLEVEL" val="1_1_1"/>
  <p:tag name="KSO_WM_TAG_VERSION" val="1.0"/>
  <p:tag name="KSO_WM_BEAUTIFY_FLAG" val="#wm#"/>
  <p:tag name="KSO_WM_UNIT_FILL_FORE_SCHEMECOLOR_INDEX" val="6"/>
  <p:tag name="KSO_WM_UNIT_FILL_TYPE" val="1"/>
  <p:tag name="KSO_WM_UNIT_TEXT_FILL_FORE_SCHEMECOLOR_INDEX" val="2"/>
  <p:tag name="KSO_WM_UNIT_TEXT_FILL_TYPE" val="1"/>
</p:tagLst>
</file>

<file path=ppt/tags/tag41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DIAGRAM_GROUP_CODE" val="l1-1"/>
  <p:tag name="KSO_WM_UNIT_TYPE" val="l_h_i"/>
  <p:tag name="KSO_WM_UNIT_INDEX" val="1_1_2"/>
  <p:tag name="KSO_WM_UNIT_ID" val="diagram20187706_3*l_h_i*1_1_2"/>
  <p:tag name="KSO_WM_TEMPLATE_CATEGORY" val="diagram"/>
  <p:tag name="KSO_WM_TEMPLATE_INDEX" val="20187706"/>
  <p:tag name="KSO_WM_UNIT_LAYERLEVEL" val="1_1_1"/>
  <p:tag name="KSO_WM_TAG_VERSION" val="1.0"/>
  <p:tag name="KSO_WM_BEAUTIFY_FLAG" val="#wm#"/>
  <p:tag name="KSO_WM_UNIT_FILL_FORE_SCHEMECOLOR_INDEX" val="5"/>
  <p:tag name="KSO_WM_UNIT_FILL_TYPE" val="1"/>
  <p:tag name="KSO_WM_UNIT_TEXT_FILL_FORE_SCHEMECOLOR_INDEX" val="2"/>
  <p:tag name="KSO_WM_UNIT_TEXT_FILL_TYPE" val="1"/>
</p:tagLst>
</file>

<file path=ppt/tags/tag42.xml><?xml version="1.0" encoding="utf-8"?>
<p:tagLst xmlns:p="http://schemas.openxmlformats.org/presentationml/2006/main">
  <p:tag name="KSO_WM_UNIT_NOCLEAR" val="0"/>
  <p:tag name="KSO_WM_UNIT_VALUE" val="24"/>
  <p:tag name="KSO_WM_UNIT_HIGHLIGHT" val="0"/>
  <p:tag name="KSO_WM_UNIT_COMPATIBLE" val="0"/>
  <p:tag name="KSO_WM_UNIT_DIAGRAM_ISNUMVISUAL" val="0"/>
  <p:tag name="KSO_WM_UNIT_DIAGRAM_ISREFERUNIT" val="0"/>
  <p:tag name="KSO_WM_DIAGRAM_GROUP_CODE" val="l1-1"/>
  <p:tag name="KSO_WM_UNIT_TYPE" val="l_h_f"/>
  <p:tag name="KSO_WM_UNIT_INDEX" val="1_1_1"/>
  <p:tag name="KSO_WM_UNIT_ID" val="diagram20187706_3*l_h_f*1_1_1"/>
  <p:tag name="KSO_WM_TEMPLATE_CATEGORY" val="diagram"/>
  <p:tag name="KSO_WM_TEMPLATE_INDEX" val="20187706"/>
  <p:tag name="KSO_WM_UNIT_LAYERLEVEL" val="1_1_1"/>
  <p:tag name="KSO_WM_TAG_VERSION" val="1.0"/>
  <p:tag name="KSO_WM_BEAUTIFY_FLAG" val="#wm#"/>
  <p:tag name="KSO_WM_UNIT_PRESET_TEXT" val="单击此处添加文本具体内容，简明扼要的阐述您的观点。"/>
  <p:tag name="KSO_WM_UNIT_TEXT_FILL_FORE_SCHEMECOLOR_INDEX" val="13"/>
  <p:tag name="KSO_WM_UNIT_TEXT_FILL_TYPE" val="1"/>
</p:tagLst>
</file>

<file path=ppt/tags/tag43.xml><?xml version="1.0" encoding="utf-8"?>
<p:tagLst xmlns:p="http://schemas.openxmlformats.org/presentationml/2006/main">
  <p:tag name="KSO_WM_UNIT_NOCLEAR" val="0"/>
  <p:tag name="KSO_WM_UNIT_VALUE" val="24"/>
  <p:tag name="KSO_WM_UNIT_HIGHLIGHT" val="0"/>
  <p:tag name="KSO_WM_UNIT_COMPATIBLE" val="0"/>
  <p:tag name="KSO_WM_UNIT_DIAGRAM_ISNUMVISUAL" val="0"/>
  <p:tag name="KSO_WM_UNIT_DIAGRAM_ISREFERUNIT" val="0"/>
  <p:tag name="KSO_WM_DIAGRAM_GROUP_CODE" val="l1-1"/>
  <p:tag name="KSO_WM_UNIT_TYPE" val="l_h_f"/>
  <p:tag name="KSO_WM_UNIT_INDEX" val="1_2_1"/>
  <p:tag name="KSO_WM_UNIT_ID" val="diagram20187706_3*l_h_f*1_2_1"/>
  <p:tag name="KSO_WM_TEMPLATE_CATEGORY" val="diagram"/>
  <p:tag name="KSO_WM_TEMPLATE_INDEX" val="20187706"/>
  <p:tag name="KSO_WM_UNIT_LAYERLEVEL" val="1_1_1"/>
  <p:tag name="KSO_WM_TAG_VERSION" val="1.0"/>
  <p:tag name="KSO_WM_BEAUTIFY_FLAG" val="#wm#"/>
  <p:tag name="KSO_WM_UNIT_PRESET_TEXT" val="单击此处添加文本具体内容，简明扼要的阐述您的观点。"/>
  <p:tag name="KSO_WM_UNIT_TEXT_FILL_FORE_SCHEMECOLOR_INDEX" val="13"/>
  <p:tag name="KSO_WM_UNIT_TEXT_FILL_TYPE" val="1"/>
</p:tagLst>
</file>

<file path=ppt/tags/tag44.xml><?xml version="1.0" encoding="utf-8"?>
<p:tagLst xmlns:p="http://schemas.openxmlformats.org/presentationml/2006/main">
  <p:tag name="REFSHAPE" val="1270714468"/>
</p:tagLst>
</file>

<file path=ppt/tags/tag45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DIAGRAM_GROUP_CODE" val="l1-1"/>
  <p:tag name="KSO_WM_UNIT_TYPE" val="l_h_i"/>
  <p:tag name="KSO_WM_UNIT_INDEX" val="1_3_2"/>
  <p:tag name="KSO_WM_UNIT_ID" val="diagram20187706_3*l_h_i*1_3_2"/>
  <p:tag name="KSO_WM_TEMPLATE_CATEGORY" val="diagram"/>
  <p:tag name="KSO_WM_TEMPLATE_INDEX" val="20187706"/>
  <p:tag name="KSO_WM_UNIT_LAYERLEVEL" val="1_1_1"/>
  <p:tag name="KSO_WM_TAG_VERSION" val="1.0"/>
  <p:tag name="KSO_WM_BEAUTIFY_FLAG" val="#wm#"/>
  <p:tag name="KSO_WM_UNIT_FILL_FORE_SCHEMECOLOR_INDEX" val="7"/>
  <p:tag name="KSO_WM_UNIT_FILL_TYPE" val="1"/>
  <p:tag name="KSO_WM_UNIT_TEXT_FILL_FORE_SCHEMECOLOR_INDEX" val="2"/>
  <p:tag name="KSO_WM_UNIT_TEXT_FILL_TYPE" val="1"/>
</p:tagLst>
</file>

<file path=ppt/tags/tag46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DIAGRAM_GROUP_CODE" val="l1-1"/>
  <p:tag name="KSO_WM_UNIT_TYPE" val="l_h_i"/>
  <p:tag name="KSO_WM_UNIT_INDEX" val="1_1_1"/>
  <p:tag name="KSO_WM_UNIT_ID" val="diagram20187706_3*l_h_i*1_1_1"/>
  <p:tag name="KSO_WM_TEMPLATE_CATEGORY" val="diagram"/>
  <p:tag name="KSO_WM_TEMPLATE_INDEX" val="20187706"/>
  <p:tag name="KSO_WM_UNIT_LAYERLEVEL" val="1_1_1"/>
  <p:tag name="KSO_WM_TAG_VERSION" val="1.0"/>
  <p:tag name="KSO_WM_BEAUTIFY_FLAG" val="#wm#"/>
  <p:tag name="KSO_WM_UNIT_FILL_FORE_SCHEMECOLOR_INDEX" val="5"/>
  <p:tag name="KSO_WM_UNIT_FILL_TYPE" val="1"/>
  <p:tag name="KSO_WM_UNIT_TEXT_FILL_FORE_SCHEMECOLOR_INDEX" val="13"/>
  <p:tag name="KSO_WM_UNIT_TEXT_FILL_TYPE" val="1"/>
</p:tagLst>
</file>

<file path=ppt/tags/tag47.xml><?xml version="1.0" encoding="utf-8"?>
<p:tagLst xmlns:p="http://schemas.openxmlformats.org/presentationml/2006/main">
  <p:tag name="KSO_WM_UNIT_ISCONTENTSTITLE" val="0"/>
  <p:tag name="KSO_WM_UNIT_NOCLEAR" val="0"/>
  <p:tag name="KSO_WM_UNIT_VALUE" val="18"/>
  <p:tag name="KSO_WM_UNIT_HIGHLIGHT" val="0"/>
  <p:tag name="KSO_WM_UNIT_COMPATIBLE" val="0"/>
  <p:tag name="KSO_WM_UNIT_DIAGRAM_ISNUMVISUAL" val="0"/>
  <p:tag name="KSO_WM_UNIT_DIAGRAM_ISREFERUNIT" val="0"/>
  <p:tag name="KSO_WM_DIAGRAM_GROUP_CODE" val="l1-1"/>
  <p:tag name="KSO_WM_UNIT_TYPE" val="l_h_a"/>
  <p:tag name="KSO_WM_UNIT_INDEX" val="1_1_1"/>
  <p:tag name="KSO_WM_UNIT_ID" val="diagram20187706_3*l_h_a*1_1_1"/>
  <p:tag name="KSO_WM_TEMPLATE_CATEGORY" val="diagram"/>
  <p:tag name="KSO_WM_TEMPLATE_INDEX" val="20187706"/>
  <p:tag name="KSO_WM_UNIT_LAYERLEVEL" val="1_1_1"/>
  <p:tag name="KSO_WM_TAG_VERSION" val="1.0"/>
  <p:tag name="KSO_WM_BEAUTIFY_FLAG" val="#wm#"/>
  <p:tag name="KSO_WM_UNIT_PRESET_TEXT" val="添加标题"/>
  <p:tag name="KSO_WM_UNIT_TEXT_FILL_FORE_SCHEMECOLOR_INDEX" val="5"/>
  <p:tag name="KSO_WM_UNIT_TEXT_FILL_TYPE" val="1"/>
</p:tagLst>
</file>

<file path=ppt/tags/tag48.xml><?xml version="1.0" encoding="utf-8"?>
<p:tagLst xmlns:p="http://schemas.openxmlformats.org/presentationml/2006/main">
  <p:tag name="KSO_WM_UNIT_NOCLEAR" val="0"/>
  <p:tag name="KSO_WM_UNIT_VALUE" val="24"/>
  <p:tag name="KSO_WM_UNIT_HIGHLIGHT" val="0"/>
  <p:tag name="KSO_WM_UNIT_COMPATIBLE" val="0"/>
  <p:tag name="KSO_WM_UNIT_DIAGRAM_ISNUMVISUAL" val="0"/>
  <p:tag name="KSO_WM_UNIT_DIAGRAM_ISREFERUNIT" val="0"/>
  <p:tag name="KSO_WM_DIAGRAM_GROUP_CODE" val="l1-1"/>
  <p:tag name="KSO_WM_UNIT_TYPE" val="l_h_f"/>
  <p:tag name="KSO_WM_UNIT_INDEX" val="1_1_1"/>
  <p:tag name="KSO_WM_UNIT_ID" val="diagram20187706_3*l_h_f*1_1_1"/>
  <p:tag name="KSO_WM_TEMPLATE_CATEGORY" val="diagram"/>
  <p:tag name="KSO_WM_TEMPLATE_INDEX" val="20187706"/>
  <p:tag name="KSO_WM_UNIT_LAYERLEVEL" val="1_1_1"/>
  <p:tag name="KSO_WM_TAG_VERSION" val="1.0"/>
  <p:tag name="KSO_WM_BEAUTIFY_FLAG" val="#wm#"/>
  <p:tag name="KSO_WM_UNIT_PRESET_TEXT" val="单击此处添加文本具体内容，简明扼要的阐述您的观点。"/>
  <p:tag name="KSO_WM_UNIT_TEXT_FILL_FORE_SCHEMECOLOR_INDEX" val="13"/>
  <p:tag name="KSO_WM_UNIT_TEXT_FILL_TYPE" val="1"/>
</p:tagLst>
</file>

<file path=ppt/tags/tag49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DIAGRAM_GROUP_CODE" val="l1-1"/>
  <p:tag name="KSO_WM_UNIT_TYPE" val="l_h_i"/>
  <p:tag name="KSO_WM_UNIT_INDEX" val="1_2_1"/>
  <p:tag name="KSO_WM_UNIT_ID" val="diagram20187706_3*l_h_i*1_2_1"/>
  <p:tag name="KSO_WM_TEMPLATE_CATEGORY" val="diagram"/>
  <p:tag name="KSO_WM_TEMPLATE_INDEX" val="20187706"/>
  <p:tag name="KSO_WM_UNIT_LAYERLEVEL" val="1_1_1"/>
  <p:tag name="KSO_WM_TAG_VERSION" val="1.0"/>
  <p:tag name="KSO_WM_BEAUTIFY_FLAG" val="#wm#"/>
  <p:tag name="KSO_WM_UNIT_FILL_FORE_SCHEMECOLOR_INDEX" val="6"/>
  <p:tag name="KSO_WM_UNIT_FILL_TYPE" val="1"/>
  <p:tag name="KSO_WM_UNIT_TEXT_FILL_FORE_SCHEMECOLOR_INDEX" val="13"/>
  <p:tag name="KSO_WM_UNIT_TEXT_FILL_TYPE" val="1"/>
</p:tagLst>
</file>

<file path=ppt/tags/tag5.xml><?xml version="1.0" encoding="utf-8"?>
<p:tagLst xmlns:p="http://schemas.openxmlformats.org/presentationml/2006/main">
  <p:tag name="KSO_WM_UNIT_DIAGRAM_MODELTYPE" val="stripeEnum"/>
  <p:tag name="KSO_WM_UNIT_HIGHLIGHT" val="0"/>
  <p:tag name="KSO_WM_UNIT_COMPATIBLE" val="0"/>
  <p:tag name="KSO_WM_UNIT_DIAGRAM_ISNUMVISUAL" val="0"/>
  <p:tag name="KSO_WM_UNIT_DIAGRAM_ISREFERUNIT" val="0"/>
  <p:tag name="KSO_WM_DIAGRAM_GROUP_CODE" val="l1-1"/>
  <p:tag name="KSO_WM_UNIT_SUBTYPE" val="b"/>
  <p:tag name="KSO_WM_UNIT_TYPE" val="l_h_i"/>
  <p:tag name="KSO_WM_UNIT_INDEX" val="1_1_1"/>
  <p:tag name="KSO_WM_UNIT_ID" val="diagram20198937_1*l_h_i*1_1_1"/>
  <p:tag name="KSO_WM_TEMPLATE_CATEGORY" val="diagram"/>
  <p:tag name="KSO_WM_TEMPLATE_INDEX" val="20198937"/>
  <p:tag name="KSO_WM_UNIT_LAYERLEVEL" val="1_1_1"/>
  <p:tag name="KSO_WM_TAG_VERSION" val="1.0"/>
  <p:tag name="KSO_WM_BEAUTIFY_FLAG" val="#wm#"/>
  <p:tag name="KSO_WM_UNIT_FILL_FORE_SCHEMECOLOR_INDEX" val="6"/>
  <p:tag name="KSO_WM_UNIT_FILL_TYPE" val="1"/>
</p:tagLst>
</file>

<file path=ppt/tags/tag50.xml><?xml version="1.0" encoding="utf-8"?>
<p:tagLst xmlns:p="http://schemas.openxmlformats.org/presentationml/2006/main">
  <p:tag name="KSO_WM_UNIT_ISCONTENTSTITLE" val="0"/>
  <p:tag name="KSO_WM_UNIT_NOCLEAR" val="0"/>
  <p:tag name="KSO_WM_UNIT_VALUE" val="18"/>
  <p:tag name="KSO_WM_UNIT_HIGHLIGHT" val="0"/>
  <p:tag name="KSO_WM_UNIT_COMPATIBLE" val="0"/>
  <p:tag name="KSO_WM_UNIT_DIAGRAM_ISNUMVISUAL" val="0"/>
  <p:tag name="KSO_WM_UNIT_DIAGRAM_ISREFERUNIT" val="0"/>
  <p:tag name="KSO_WM_DIAGRAM_GROUP_CODE" val="l1-1"/>
  <p:tag name="KSO_WM_UNIT_TYPE" val="l_h_a"/>
  <p:tag name="KSO_WM_UNIT_INDEX" val="1_2_1"/>
  <p:tag name="KSO_WM_UNIT_ID" val="diagram20187706_3*l_h_a*1_2_1"/>
  <p:tag name="KSO_WM_TEMPLATE_CATEGORY" val="diagram"/>
  <p:tag name="KSO_WM_TEMPLATE_INDEX" val="20187706"/>
  <p:tag name="KSO_WM_UNIT_LAYERLEVEL" val="1_1_1"/>
  <p:tag name="KSO_WM_TAG_VERSION" val="1.0"/>
  <p:tag name="KSO_WM_BEAUTIFY_FLAG" val="#wm#"/>
  <p:tag name="KSO_WM_UNIT_PRESET_TEXT" val="添加标题"/>
  <p:tag name="KSO_WM_UNIT_TEXT_FILL_FORE_SCHEMECOLOR_INDEX" val="6"/>
  <p:tag name="KSO_WM_UNIT_TEXT_FILL_TYPE" val="1"/>
</p:tagLst>
</file>

<file path=ppt/tags/tag51.xml><?xml version="1.0" encoding="utf-8"?>
<p:tagLst xmlns:p="http://schemas.openxmlformats.org/presentationml/2006/main">
  <p:tag name="KSO_WM_UNIT_NOCLEAR" val="0"/>
  <p:tag name="KSO_WM_UNIT_VALUE" val="24"/>
  <p:tag name="KSO_WM_UNIT_HIGHLIGHT" val="0"/>
  <p:tag name="KSO_WM_UNIT_COMPATIBLE" val="0"/>
  <p:tag name="KSO_WM_UNIT_DIAGRAM_ISNUMVISUAL" val="0"/>
  <p:tag name="KSO_WM_UNIT_DIAGRAM_ISREFERUNIT" val="0"/>
  <p:tag name="KSO_WM_DIAGRAM_GROUP_CODE" val="l1-1"/>
  <p:tag name="KSO_WM_UNIT_TYPE" val="l_h_f"/>
  <p:tag name="KSO_WM_UNIT_INDEX" val="1_2_1"/>
  <p:tag name="KSO_WM_UNIT_ID" val="diagram20187706_3*l_h_f*1_2_1"/>
  <p:tag name="KSO_WM_TEMPLATE_CATEGORY" val="diagram"/>
  <p:tag name="KSO_WM_TEMPLATE_INDEX" val="20187706"/>
  <p:tag name="KSO_WM_UNIT_LAYERLEVEL" val="1_1_1"/>
  <p:tag name="KSO_WM_TAG_VERSION" val="1.0"/>
  <p:tag name="KSO_WM_BEAUTIFY_FLAG" val="#wm#"/>
  <p:tag name="KSO_WM_UNIT_PRESET_TEXT" val="单击此处添加文本具体内容，简明扼要的阐述您的观点。"/>
  <p:tag name="KSO_WM_UNIT_TEXT_FILL_FORE_SCHEMECOLOR_INDEX" val="13"/>
  <p:tag name="KSO_WM_UNIT_TEXT_FILL_TYPE" val="1"/>
</p:tagLst>
</file>

<file path=ppt/tags/tag52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DIAGRAM_GROUP_CODE" val="l1-1"/>
  <p:tag name="KSO_WM_UNIT_TYPE" val="l_h_i"/>
  <p:tag name="KSO_WM_UNIT_INDEX" val="1_3_1"/>
  <p:tag name="KSO_WM_UNIT_ID" val="diagram20187706_3*l_h_i*1_3_1"/>
  <p:tag name="KSO_WM_TEMPLATE_CATEGORY" val="diagram"/>
  <p:tag name="KSO_WM_TEMPLATE_INDEX" val="20187706"/>
  <p:tag name="KSO_WM_UNIT_LAYERLEVEL" val="1_1_1"/>
  <p:tag name="KSO_WM_TAG_VERSION" val="1.0"/>
  <p:tag name="KSO_WM_BEAUTIFY_FLAG" val="#wm#"/>
  <p:tag name="KSO_WM_UNIT_FILL_FORE_SCHEMECOLOR_INDEX" val="7"/>
  <p:tag name="KSO_WM_UNIT_FILL_TYPE" val="1"/>
  <p:tag name="KSO_WM_UNIT_TEXT_FILL_FORE_SCHEMECOLOR_INDEX" val="13"/>
  <p:tag name="KSO_WM_UNIT_TEXT_FILL_TYPE" val="1"/>
</p:tagLst>
</file>

<file path=ppt/tags/tag53.xml><?xml version="1.0" encoding="utf-8"?>
<p:tagLst xmlns:p="http://schemas.openxmlformats.org/presentationml/2006/main">
  <p:tag name="KSO_WM_UNIT_ISCONTENTSTITLE" val="0"/>
  <p:tag name="KSO_WM_UNIT_NOCLEAR" val="0"/>
  <p:tag name="KSO_WM_UNIT_VALUE" val="18"/>
  <p:tag name="KSO_WM_UNIT_HIGHLIGHT" val="0"/>
  <p:tag name="KSO_WM_UNIT_COMPATIBLE" val="0"/>
  <p:tag name="KSO_WM_UNIT_DIAGRAM_ISNUMVISUAL" val="0"/>
  <p:tag name="KSO_WM_UNIT_DIAGRAM_ISREFERUNIT" val="0"/>
  <p:tag name="KSO_WM_DIAGRAM_GROUP_CODE" val="l1-1"/>
  <p:tag name="KSO_WM_UNIT_TYPE" val="l_h_a"/>
  <p:tag name="KSO_WM_UNIT_INDEX" val="1_3_1"/>
  <p:tag name="KSO_WM_UNIT_ID" val="diagram20187706_3*l_h_a*1_3_1"/>
  <p:tag name="KSO_WM_TEMPLATE_CATEGORY" val="diagram"/>
  <p:tag name="KSO_WM_TEMPLATE_INDEX" val="20187706"/>
  <p:tag name="KSO_WM_UNIT_LAYERLEVEL" val="1_1_1"/>
  <p:tag name="KSO_WM_TAG_VERSION" val="1.0"/>
  <p:tag name="KSO_WM_BEAUTIFY_FLAG" val="#wm#"/>
  <p:tag name="KSO_WM_UNIT_PRESET_TEXT" val="添加标题"/>
  <p:tag name="KSO_WM_UNIT_TEXT_FILL_FORE_SCHEMECOLOR_INDEX" val="7"/>
  <p:tag name="KSO_WM_UNIT_TEXT_FILL_TYPE" val="1"/>
</p:tagLst>
</file>

<file path=ppt/tags/tag54.xml><?xml version="1.0" encoding="utf-8"?>
<p:tagLst xmlns:p="http://schemas.openxmlformats.org/presentationml/2006/main">
  <p:tag name="KSO_WM_UNIT_NOCLEAR" val="0"/>
  <p:tag name="KSO_WM_UNIT_VALUE" val="24"/>
  <p:tag name="KSO_WM_UNIT_HIGHLIGHT" val="0"/>
  <p:tag name="KSO_WM_UNIT_COMPATIBLE" val="0"/>
  <p:tag name="KSO_WM_UNIT_DIAGRAM_ISNUMVISUAL" val="0"/>
  <p:tag name="KSO_WM_UNIT_DIAGRAM_ISREFERUNIT" val="0"/>
  <p:tag name="KSO_WM_DIAGRAM_GROUP_CODE" val="l1-1"/>
  <p:tag name="KSO_WM_UNIT_TYPE" val="l_h_f"/>
  <p:tag name="KSO_WM_UNIT_INDEX" val="1_3_1"/>
  <p:tag name="KSO_WM_UNIT_ID" val="diagram20187706_3*l_h_f*1_3_1"/>
  <p:tag name="KSO_WM_TEMPLATE_CATEGORY" val="diagram"/>
  <p:tag name="KSO_WM_TEMPLATE_INDEX" val="20187706"/>
  <p:tag name="KSO_WM_UNIT_LAYERLEVEL" val="1_1_1"/>
  <p:tag name="KSO_WM_TAG_VERSION" val="1.0"/>
  <p:tag name="KSO_WM_BEAUTIFY_FLAG" val="#wm#"/>
  <p:tag name="KSO_WM_UNIT_PRESET_TEXT" val="单击此处添加文本具体内容，简明扼要的阐述您的观点。"/>
  <p:tag name="KSO_WM_UNIT_TEXT_FILL_FORE_SCHEMECOLOR_INDEX" val="13"/>
  <p:tag name="KSO_WM_UNIT_TEXT_FILL_TYPE" val="1"/>
</p:tagLst>
</file>

<file path=ppt/tags/tag55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DIAGRAM_GROUP_CODE" val="l1-1"/>
  <p:tag name="KSO_WM_UNIT_TYPE" val="l_h_i"/>
  <p:tag name="KSO_WM_UNIT_INDEX" val="1_2_2"/>
  <p:tag name="KSO_WM_UNIT_ID" val="diagram20187706_3*l_h_i*1_2_2"/>
  <p:tag name="KSO_WM_TEMPLATE_CATEGORY" val="diagram"/>
  <p:tag name="KSO_WM_TEMPLATE_INDEX" val="20187706"/>
  <p:tag name="KSO_WM_UNIT_LAYERLEVEL" val="1_1_1"/>
  <p:tag name="KSO_WM_TAG_VERSION" val="1.0"/>
  <p:tag name="KSO_WM_BEAUTIFY_FLAG" val="#wm#"/>
  <p:tag name="KSO_WM_UNIT_FILL_FORE_SCHEMECOLOR_INDEX" val="6"/>
  <p:tag name="KSO_WM_UNIT_FILL_TYPE" val="1"/>
  <p:tag name="KSO_WM_UNIT_TEXT_FILL_FORE_SCHEMECOLOR_INDEX" val="2"/>
  <p:tag name="KSO_WM_UNIT_TEXT_FILL_TYPE" val="1"/>
</p:tagLst>
</file>

<file path=ppt/tags/tag56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DIAGRAM_GROUP_CODE" val="l1-1"/>
  <p:tag name="KSO_WM_UNIT_TYPE" val="l_h_i"/>
  <p:tag name="KSO_WM_UNIT_INDEX" val="1_1_2"/>
  <p:tag name="KSO_WM_UNIT_ID" val="diagram20187706_3*l_h_i*1_1_2"/>
  <p:tag name="KSO_WM_TEMPLATE_CATEGORY" val="diagram"/>
  <p:tag name="KSO_WM_TEMPLATE_INDEX" val="20187706"/>
  <p:tag name="KSO_WM_UNIT_LAYERLEVEL" val="1_1_1"/>
  <p:tag name="KSO_WM_TAG_VERSION" val="1.0"/>
  <p:tag name="KSO_WM_BEAUTIFY_FLAG" val="#wm#"/>
  <p:tag name="KSO_WM_UNIT_FILL_FORE_SCHEMECOLOR_INDEX" val="5"/>
  <p:tag name="KSO_WM_UNIT_FILL_TYPE" val="1"/>
  <p:tag name="KSO_WM_UNIT_TEXT_FILL_FORE_SCHEMECOLOR_INDEX" val="2"/>
  <p:tag name="KSO_WM_UNIT_TEXT_FILL_TYPE" val="1"/>
</p:tagLst>
</file>

<file path=ppt/tags/tag57.xml><?xml version="1.0" encoding="utf-8"?>
<p:tagLst xmlns:p="http://schemas.openxmlformats.org/presentationml/2006/main">
  <p:tag name="REFSHAPE" val="1270714468"/>
</p:tagLst>
</file>

<file path=ppt/tags/tag58.xml><?xml version="1.0" encoding="utf-8"?>
<p:tagLst xmlns:p="http://schemas.openxmlformats.org/presentationml/2006/main">
  <p:tag name="REFSHAPE" val="1270714468"/>
</p:tagLst>
</file>

<file path=ppt/tags/tag59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DIAGRAM_GROUP_CODE" val="l1-1"/>
  <p:tag name="KSO_WM_UNIT_TYPE" val="l_h_i"/>
  <p:tag name="KSO_WM_UNIT_INDEX" val="1_3_2"/>
  <p:tag name="KSO_WM_UNIT_ID" val="diagram20187706_3*l_h_i*1_3_2"/>
  <p:tag name="KSO_WM_TEMPLATE_CATEGORY" val="diagram"/>
  <p:tag name="KSO_WM_TEMPLATE_INDEX" val="20187706"/>
  <p:tag name="KSO_WM_UNIT_LAYERLEVEL" val="1_1_1"/>
  <p:tag name="KSO_WM_TAG_VERSION" val="1.0"/>
  <p:tag name="KSO_WM_BEAUTIFY_FLAG" val="#wm#"/>
  <p:tag name="KSO_WM_UNIT_FILL_FORE_SCHEMECOLOR_INDEX" val="7"/>
  <p:tag name="KSO_WM_UNIT_FILL_TYPE" val="1"/>
  <p:tag name="KSO_WM_UNIT_TEXT_FILL_FORE_SCHEMECOLOR_INDEX" val="2"/>
  <p:tag name="KSO_WM_UNIT_TEXT_FILL_TYPE" val="1"/>
</p:tagLst>
</file>

<file path=ppt/tags/tag6.xml><?xml version="1.0" encoding="utf-8"?>
<p:tagLst xmlns:p="http://schemas.openxmlformats.org/presentationml/2006/main">
  <p:tag name="KSO_WM_UNIT_DIAGRAM_MODELTYPE" val="stripeEnum"/>
  <p:tag name="KSO_WM_UNIT_HIGHLIGHT" val="0"/>
  <p:tag name="KSO_WM_UNIT_COMPATIBLE" val="0"/>
  <p:tag name="KSO_WM_UNIT_DIAGRAM_ISNUMVISUAL" val="0"/>
  <p:tag name="KSO_WM_UNIT_DIAGRAM_ISREFERUNIT" val="0"/>
  <p:tag name="KSO_WM_DIAGRAM_GROUP_CODE" val="l1-1"/>
  <p:tag name="KSO_WM_UNIT_TYPE" val="l_h_i"/>
  <p:tag name="KSO_WM_UNIT_INDEX" val="1_1_1"/>
  <p:tag name="KSO_WM_UNIT_ID" val="diagram20198937_1*l_h_i*1_1_1"/>
  <p:tag name="KSO_WM_TEMPLATE_CATEGORY" val="diagram"/>
  <p:tag name="KSO_WM_TEMPLATE_INDEX" val="20198937"/>
  <p:tag name="KSO_WM_UNIT_LAYERLEVEL" val="1_1_1"/>
  <p:tag name="KSO_WM_TAG_VERSION" val="1.0"/>
  <p:tag name="KSO_WM_BEAUTIFY_FLAG" val="#wm#"/>
  <p:tag name="KSO_WM_UNIT_FILL_FORE_SCHEMECOLOR_INDEX" val="6"/>
  <p:tag name="KSO_WM_UNIT_FILL_TYPE" val="1"/>
  <p:tag name="KSO_WM_UNIT_TEXT_FILL_FORE_SCHEMECOLOR_INDEX" val="14"/>
  <p:tag name="KSO_WM_UNIT_TEXT_FILL_TYPE" val="1"/>
</p:tagLst>
</file>

<file path=ppt/tags/tag60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DIAGRAM_GROUP_CODE" val="l1-1"/>
  <p:tag name="KSO_WM_UNIT_TYPE" val="l_h_i"/>
  <p:tag name="KSO_WM_UNIT_INDEX" val="1_1_1"/>
  <p:tag name="KSO_WM_UNIT_ID" val="diagram20187706_3*l_h_i*1_1_1"/>
  <p:tag name="KSO_WM_TEMPLATE_CATEGORY" val="diagram"/>
  <p:tag name="KSO_WM_TEMPLATE_INDEX" val="20187706"/>
  <p:tag name="KSO_WM_UNIT_LAYERLEVEL" val="1_1_1"/>
  <p:tag name="KSO_WM_TAG_VERSION" val="1.0"/>
  <p:tag name="KSO_WM_BEAUTIFY_FLAG" val="#wm#"/>
  <p:tag name="KSO_WM_UNIT_FILL_FORE_SCHEMECOLOR_INDEX" val="5"/>
  <p:tag name="KSO_WM_UNIT_FILL_TYPE" val="1"/>
  <p:tag name="KSO_WM_UNIT_TEXT_FILL_FORE_SCHEMECOLOR_INDEX" val="13"/>
  <p:tag name="KSO_WM_UNIT_TEXT_FILL_TYPE" val="1"/>
</p:tagLst>
</file>

<file path=ppt/tags/tag61.xml><?xml version="1.0" encoding="utf-8"?>
<p:tagLst xmlns:p="http://schemas.openxmlformats.org/presentationml/2006/main">
  <p:tag name="KSO_WM_UNIT_ISCONTENTSTITLE" val="0"/>
  <p:tag name="KSO_WM_UNIT_NOCLEAR" val="0"/>
  <p:tag name="KSO_WM_UNIT_VALUE" val="18"/>
  <p:tag name="KSO_WM_UNIT_HIGHLIGHT" val="0"/>
  <p:tag name="KSO_WM_UNIT_COMPATIBLE" val="0"/>
  <p:tag name="KSO_WM_UNIT_DIAGRAM_ISNUMVISUAL" val="0"/>
  <p:tag name="KSO_WM_UNIT_DIAGRAM_ISREFERUNIT" val="0"/>
  <p:tag name="KSO_WM_DIAGRAM_GROUP_CODE" val="l1-1"/>
  <p:tag name="KSO_WM_UNIT_TYPE" val="l_h_a"/>
  <p:tag name="KSO_WM_UNIT_INDEX" val="1_1_1"/>
  <p:tag name="KSO_WM_UNIT_ID" val="diagram20187706_3*l_h_a*1_1_1"/>
  <p:tag name="KSO_WM_TEMPLATE_CATEGORY" val="diagram"/>
  <p:tag name="KSO_WM_TEMPLATE_INDEX" val="20187706"/>
  <p:tag name="KSO_WM_UNIT_LAYERLEVEL" val="1_1_1"/>
  <p:tag name="KSO_WM_TAG_VERSION" val="1.0"/>
  <p:tag name="KSO_WM_BEAUTIFY_FLAG" val="#wm#"/>
  <p:tag name="KSO_WM_UNIT_PRESET_TEXT" val="添加标题"/>
  <p:tag name="KSO_WM_UNIT_TEXT_FILL_FORE_SCHEMECOLOR_INDEX" val="5"/>
  <p:tag name="KSO_WM_UNIT_TEXT_FILL_TYPE" val="1"/>
</p:tagLst>
</file>

<file path=ppt/tags/tag62.xml><?xml version="1.0" encoding="utf-8"?>
<p:tagLst xmlns:p="http://schemas.openxmlformats.org/presentationml/2006/main">
  <p:tag name="KSO_WM_UNIT_NOCLEAR" val="0"/>
  <p:tag name="KSO_WM_UNIT_VALUE" val="24"/>
  <p:tag name="KSO_WM_UNIT_HIGHLIGHT" val="0"/>
  <p:tag name="KSO_WM_UNIT_COMPATIBLE" val="0"/>
  <p:tag name="KSO_WM_UNIT_DIAGRAM_ISNUMVISUAL" val="0"/>
  <p:tag name="KSO_WM_UNIT_DIAGRAM_ISREFERUNIT" val="0"/>
  <p:tag name="KSO_WM_DIAGRAM_GROUP_CODE" val="l1-1"/>
  <p:tag name="KSO_WM_UNIT_TYPE" val="l_h_f"/>
  <p:tag name="KSO_WM_UNIT_INDEX" val="1_1_1"/>
  <p:tag name="KSO_WM_UNIT_ID" val="diagram20187706_3*l_h_f*1_1_1"/>
  <p:tag name="KSO_WM_TEMPLATE_CATEGORY" val="diagram"/>
  <p:tag name="KSO_WM_TEMPLATE_INDEX" val="20187706"/>
  <p:tag name="KSO_WM_UNIT_LAYERLEVEL" val="1_1_1"/>
  <p:tag name="KSO_WM_TAG_VERSION" val="1.0"/>
  <p:tag name="KSO_WM_BEAUTIFY_FLAG" val="#wm#"/>
  <p:tag name="KSO_WM_UNIT_PRESET_TEXT" val="单击此处添加文本具体内容，简明扼要的阐述您的观点。"/>
  <p:tag name="KSO_WM_UNIT_TEXT_FILL_FORE_SCHEMECOLOR_INDEX" val="13"/>
  <p:tag name="KSO_WM_UNIT_TEXT_FILL_TYPE" val="1"/>
</p:tagLst>
</file>

<file path=ppt/tags/tag63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DIAGRAM_GROUP_CODE" val="l1-1"/>
  <p:tag name="KSO_WM_UNIT_TYPE" val="l_h_i"/>
  <p:tag name="KSO_WM_UNIT_INDEX" val="1_2_1"/>
  <p:tag name="KSO_WM_UNIT_ID" val="diagram20187706_3*l_h_i*1_2_1"/>
  <p:tag name="KSO_WM_TEMPLATE_CATEGORY" val="diagram"/>
  <p:tag name="KSO_WM_TEMPLATE_INDEX" val="20187706"/>
  <p:tag name="KSO_WM_UNIT_LAYERLEVEL" val="1_1_1"/>
  <p:tag name="KSO_WM_TAG_VERSION" val="1.0"/>
  <p:tag name="KSO_WM_BEAUTIFY_FLAG" val="#wm#"/>
  <p:tag name="KSO_WM_UNIT_FILL_FORE_SCHEMECOLOR_INDEX" val="6"/>
  <p:tag name="KSO_WM_UNIT_FILL_TYPE" val="1"/>
  <p:tag name="KSO_WM_UNIT_TEXT_FILL_FORE_SCHEMECOLOR_INDEX" val="13"/>
  <p:tag name="KSO_WM_UNIT_TEXT_FILL_TYPE" val="1"/>
</p:tagLst>
</file>

<file path=ppt/tags/tag64.xml><?xml version="1.0" encoding="utf-8"?>
<p:tagLst xmlns:p="http://schemas.openxmlformats.org/presentationml/2006/main">
  <p:tag name="KSO_WM_UNIT_ISCONTENTSTITLE" val="0"/>
  <p:tag name="KSO_WM_UNIT_NOCLEAR" val="0"/>
  <p:tag name="KSO_WM_UNIT_VALUE" val="18"/>
  <p:tag name="KSO_WM_UNIT_HIGHLIGHT" val="0"/>
  <p:tag name="KSO_WM_UNIT_COMPATIBLE" val="0"/>
  <p:tag name="KSO_WM_UNIT_DIAGRAM_ISNUMVISUAL" val="0"/>
  <p:tag name="KSO_WM_UNIT_DIAGRAM_ISREFERUNIT" val="0"/>
  <p:tag name="KSO_WM_DIAGRAM_GROUP_CODE" val="l1-1"/>
  <p:tag name="KSO_WM_UNIT_TYPE" val="l_h_a"/>
  <p:tag name="KSO_WM_UNIT_INDEX" val="1_2_1"/>
  <p:tag name="KSO_WM_UNIT_ID" val="diagram20187706_3*l_h_a*1_2_1"/>
  <p:tag name="KSO_WM_TEMPLATE_CATEGORY" val="diagram"/>
  <p:tag name="KSO_WM_TEMPLATE_INDEX" val="20187706"/>
  <p:tag name="KSO_WM_UNIT_LAYERLEVEL" val="1_1_1"/>
  <p:tag name="KSO_WM_TAG_VERSION" val="1.0"/>
  <p:tag name="KSO_WM_BEAUTIFY_FLAG" val="#wm#"/>
  <p:tag name="KSO_WM_UNIT_PRESET_TEXT" val="添加标题"/>
  <p:tag name="KSO_WM_UNIT_TEXT_FILL_FORE_SCHEMECOLOR_INDEX" val="6"/>
  <p:tag name="KSO_WM_UNIT_TEXT_FILL_TYPE" val="1"/>
</p:tagLst>
</file>

<file path=ppt/tags/tag65.xml><?xml version="1.0" encoding="utf-8"?>
<p:tagLst xmlns:p="http://schemas.openxmlformats.org/presentationml/2006/main">
  <p:tag name="KSO_WM_UNIT_NOCLEAR" val="0"/>
  <p:tag name="KSO_WM_UNIT_VALUE" val="24"/>
  <p:tag name="KSO_WM_UNIT_HIGHLIGHT" val="0"/>
  <p:tag name="KSO_WM_UNIT_COMPATIBLE" val="0"/>
  <p:tag name="KSO_WM_UNIT_DIAGRAM_ISNUMVISUAL" val="0"/>
  <p:tag name="KSO_WM_UNIT_DIAGRAM_ISREFERUNIT" val="0"/>
  <p:tag name="KSO_WM_DIAGRAM_GROUP_CODE" val="l1-1"/>
  <p:tag name="KSO_WM_UNIT_TYPE" val="l_h_f"/>
  <p:tag name="KSO_WM_UNIT_INDEX" val="1_2_1"/>
  <p:tag name="KSO_WM_UNIT_ID" val="diagram20187706_3*l_h_f*1_2_1"/>
  <p:tag name="KSO_WM_TEMPLATE_CATEGORY" val="diagram"/>
  <p:tag name="KSO_WM_TEMPLATE_INDEX" val="20187706"/>
  <p:tag name="KSO_WM_UNIT_LAYERLEVEL" val="1_1_1"/>
  <p:tag name="KSO_WM_TAG_VERSION" val="1.0"/>
  <p:tag name="KSO_WM_BEAUTIFY_FLAG" val="#wm#"/>
  <p:tag name="KSO_WM_UNIT_PRESET_TEXT" val="单击此处添加文本具体内容，简明扼要的阐述您的观点。"/>
  <p:tag name="KSO_WM_UNIT_TEXT_FILL_FORE_SCHEMECOLOR_INDEX" val="13"/>
  <p:tag name="KSO_WM_UNIT_TEXT_FILL_TYPE" val="1"/>
</p:tagLst>
</file>

<file path=ppt/tags/tag66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DIAGRAM_GROUP_CODE" val="l1-1"/>
  <p:tag name="KSO_WM_UNIT_TYPE" val="l_h_i"/>
  <p:tag name="KSO_WM_UNIT_INDEX" val="1_2_2"/>
  <p:tag name="KSO_WM_UNIT_ID" val="diagram20187706_3*l_h_i*1_2_2"/>
  <p:tag name="KSO_WM_TEMPLATE_CATEGORY" val="diagram"/>
  <p:tag name="KSO_WM_TEMPLATE_INDEX" val="20187706"/>
  <p:tag name="KSO_WM_UNIT_LAYERLEVEL" val="1_1_1"/>
  <p:tag name="KSO_WM_TAG_VERSION" val="1.0"/>
  <p:tag name="KSO_WM_BEAUTIFY_FLAG" val="#wm#"/>
  <p:tag name="KSO_WM_UNIT_FILL_FORE_SCHEMECOLOR_INDEX" val="6"/>
  <p:tag name="KSO_WM_UNIT_FILL_TYPE" val="1"/>
  <p:tag name="KSO_WM_UNIT_TEXT_FILL_FORE_SCHEMECOLOR_INDEX" val="2"/>
  <p:tag name="KSO_WM_UNIT_TEXT_FILL_TYPE" val="1"/>
</p:tagLst>
</file>

<file path=ppt/tags/tag67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DIAGRAM_GROUP_CODE" val="l1-1"/>
  <p:tag name="KSO_WM_UNIT_TYPE" val="l_h_i"/>
  <p:tag name="KSO_WM_UNIT_INDEX" val="1_1_2"/>
  <p:tag name="KSO_WM_UNIT_ID" val="diagram20187706_3*l_h_i*1_1_2"/>
  <p:tag name="KSO_WM_TEMPLATE_CATEGORY" val="diagram"/>
  <p:tag name="KSO_WM_TEMPLATE_INDEX" val="20187706"/>
  <p:tag name="KSO_WM_UNIT_LAYERLEVEL" val="1_1_1"/>
  <p:tag name="KSO_WM_TAG_VERSION" val="1.0"/>
  <p:tag name="KSO_WM_BEAUTIFY_FLAG" val="#wm#"/>
  <p:tag name="KSO_WM_UNIT_FILL_FORE_SCHEMECOLOR_INDEX" val="5"/>
  <p:tag name="KSO_WM_UNIT_FILL_TYPE" val="1"/>
  <p:tag name="KSO_WM_UNIT_TEXT_FILL_FORE_SCHEMECOLOR_INDEX" val="2"/>
  <p:tag name="KSO_WM_UNIT_TEXT_FILL_TYPE" val="1"/>
</p:tagLst>
</file>

<file path=ppt/tags/tag68.xml><?xml version="1.0" encoding="utf-8"?>
<p:tagLst xmlns:p="http://schemas.openxmlformats.org/presentationml/2006/main">
  <p:tag name="THINKCELLSHAPEDONOTDELETE" val="thinkcellActiveDocDoNotDelete"/>
</p:tagLst>
</file>

<file path=ppt/tags/tag69.xml><?xml version="1.0" encoding="utf-8"?>
<p:tagLst xmlns:p="http://schemas.openxmlformats.org/presentationml/2006/main">
  <p:tag name="THINKCELLSHAPEDONOTDELETE" val="t1Smkff3fSzGMOuItfjj3Fw"/>
</p:tagLst>
</file>

<file path=ppt/tags/tag7.xml><?xml version="1.0" encoding="utf-8"?>
<p:tagLst xmlns:p="http://schemas.openxmlformats.org/presentationml/2006/main">
  <p:tag name="KSO_WM_UNIT_DIAGRAM_MODELTYPE" val="stripeEnum"/>
  <p:tag name="KSO_WM_UNIT_HIGHLIGHT" val="0"/>
  <p:tag name="KSO_WM_UNIT_COMPATIBLE" val="0"/>
  <p:tag name="KSO_WM_UNIT_DIAGRAM_ISNUMVISUAL" val="0"/>
  <p:tag name="KSO_WM_UNIT_DIAGRAM_ISREFERUNIT" val="0"/>
  <p:tag name="KSO_WM_DIAGRAM_GROUP_CODE" val="l1-1"/>
  <p:tag name="KSO_WM_UNIT_TYPE" val="l_h_i"/>
  <p:tag name="KSO_WM_UNIT_INDEX" val="1_1_2"/>
  <p:tag name="KSO_WM_UNIT_ID" val="diagram20198937_1*l_h_i*1_1_2"/>
  <p:tag name="KSO_WM_TEMPLATE_CATEGORY" val="diagram"/>
  <p:tag name="KSO_WM_TEMPLATE_INDEX" val="20198937"/>
  <p:tag name="KSO_WM_UNIT_LAYERLEVEL" val="1_1_1"/>
  <p:tag name="KSO_WM_TAG_VERSION" val="1.0"/>
  <p:tag name="KSO_WM_BEAUTIFY_FLAG" val="#wm#"/>
  <p:tag name="KSO_WM_UNIT_FILL_FORE_SCHEMECOLOR_INDEX" val="6"/>
  <p:tag name="KSO_WM_UNIT_FILL_TYPE" val="1"/>
  <p:tag name="KSO_WM_UNIT_TEXT_FILL_FORE_SCHEMECOLOR_INDEX" val="14"/>
  <p:tag name="KSO_WM_UNIT_TEXT_FILL_TYPE" val="1"/>
</p:tagLst>
</file>

<file path=ppt/tags/tag70.xml><?xml version="1.0" encoding="utf-8"?>
<p:tagLst xmlns:p="http://schemas.openxmlformats.org/presentationml/2006/main">
  <p:tag name="ISLIDE TOOLS.GUIDESSETTING" val="{&quot;Id&quot;:&quot;2d4375ee-8516-45e0-8956-45702a61a9b6&quot;,&quot;Name&quot;:&quot;iSlide&quot;,&quot;HeaderHeight&quot;:15.0,&quot;FooterHeight&quot;:9.0000000000000036,&quot;SideMargin&quot;:5.4999999999999982,&quot;TopMargin&quot;:0.0,&quot;BottomMargin&quot;:0.0,&quot;IntervalMargin&quot;:1.3999999999999997}"/>
  <p:tag name="ISLIDE.GUIDESSETTING" val="{&quot;Id&quot;:&quot;GuidesStyle_Normal&quot;,&quot;Name&quot;:&quot;正常&quot;,&quot;HeaderHeight&quot;:15.0,&quot;FooterHeight&quot;:9.0,&quot;SideMargin&quot;:5.5,&quot;TopMargin&quot;:0.0,&quot;BottomMargin&quot;:0.0,&quot;IntervalMargin&quot;:1.5}"/>
  <p:tag name="THINKCELLUNDODONOTDELETE" val="0"/>
  <p:tag name="ISLIDE.THEME" val="e65689fe-6797-4cb7-96fe-01dc2e5a56de"/>
</p:tagLst>
</file>

<file path=ppt/tags/tag8.xml><?xml version="1.0" encoding="utf-8"?>
<p:tagLst xmlns:p="http://schemas.openxmlformats.org/presentationml/2006/main">
  <p:tag name="KSO_WM_UNIT_DIAGRAM_MODELTYPE" val="stripeEnum"/>
  <p:tag name="KSO_WM_UNIT_ISCONTENTSTITLE" val="0"/>
  <p:tag name="KSO_WM_UNIT_NOCLEAR" val="0"/>
  <p:tag name="KSO_WM_UNIT_VALUE" val="8"/>
  <p:tag name="KSO_WM_UNIT_HIGHLIGHT" val="0"/>
  <p:tag name="KSO_WM_UNIT_COMPATIBLE" val="0"/>
  <p:tag name="KSO_WM_UNIT_DIAGRAM_ISNUMVISUAL" val="0"/>
  <p:tag name="KSO_WM_UNIT_DIAGRAM_ISREFERUNIT" val="0"/>
  <p:tag name="KSO_WM_DIAGRAM_GROUP_CODE" val="l1-1"/>
  <p:tag name="KSO_WM_UNIT_TYPE" val="l_h_a"/>
  <p:tag name="KSO_WM_UNIT_INDEX" val="1_1_1"/>
  <p:tag name="KSO_WM_UNIT_ID" val="diagram20198937_1*l_h_a*1_1_1"/>
  <p:tag name="KSO_WM_TEMPLATE_CATEGORY" val="diagram"/>
  <p:tag name="KSO_WM_TEMPLATE_INDEX" val="20198937"/>
  <p:tag name="KSO_WM_UNIT_LAYERLEVEL" val="1_1_1"/>
  <p:tag name="KSO_WM_TAG_VERSION" val="1.0"/>
  <p:tag name="KSO_WM_BEAUTIFY_FLAG" val="#wm#"/>
  <p:tag name="KSO_WM_UNIT_PRESET_TEXT" val="添加标题"/>
  <p:tag name="KSO_WM_UNIT_TEXT_FILL_FORE_SCHEMECOLOR_INDEX" val="14"/>
  <p:tag name="KSO_WM_UNIT_TEXT_FILL_TYPE" val="1"/>
</p:tagLst>
</file>

<file path=ppt/tags/tag9.xml><?xml version="1.0" encoding="utf-8"?>
<p:tagLst xmlns:p="http://schemas.openxmlformats.org/presentationml/2006/main">
  <p:tag name="KSO_WM_UNIT_DIAGRAM_MODELTYPE" val="stripeEnum"/>
  <p:tag name="KSO_WM_UNIT_NOCLEAR" val="0"/>
  <p:tag name="KSO_WM_UNIT_VALUE" val="87"/>
  <p:tag name="KSO_WM_UNIT_HIGHLIGHT" val="0"/>
  <p:tag name="KSO_WM_UNIT_COMPATIBLE" val="0"/>
  <p:tag name="KSO_WM_UNIT_DIAGRAM_ISNUMVISUAL" val="0"/>
  <p:tag name="KSO_WM_UNIT_DIAGRAM_ISREFERUNIT" val="0"/>
  <p:tag name="KSO_WM_DIAGRAM_GROUP_CODE" val="l1-1"/>
  <p:tag name="KSO_WM_UNIT_TYPE" val="l_h_f"/>
  <p:tag name="KSO_WM_UNIT_INDEX" val="1_1_1"/>
  <p:tag name="KSO_WM_UNIT_ID" val="diagram20198937_1*l_h_f*1_1_1"/>
  <p:tag name="KSO_WM_TEMPLATE_CATEGORY" val="diagram"/>
  <p:tag name="KSO_WM_TEMPLATE_INDEX" val="20198937"/>
  <p:tag name="KSO_WM_UNIT_LAYERLEVEL" val="1_1_1"/>
  <p:tag name="KSO_WM_TAG_VERSION" val="1.0"/>
  <p:tag name="KSO_WM_BEAUTIFY_FLAG" val="#wm#"/>
  <p:tag name="KSO_WM_UNIT_PRESET_TEXT" val="单击此处添加文本具体内容，简明扼要的阐述您的观点。根据需要可酌情增减文字，以便观者准确的理解您传达的思想。"/>
  <p:tag name="KSO_WM_UNIT_TEXT_FILL_FORE_SCHEMECOLOR_INDEX" val="13"/>
  <p:tag name="KSO_WM_UNIT_TEXT_FILL_TYPE" val="1"/>
</p:tagLst>
</file>

<file path=ppt/theme/theme1.xml><?xml version="1.0" encoding="utf-8"?>
<a:theme xmlns:a="http://schemas.openxmlformats.org/drawingml/2006/main" name="主题5">
  <a:themeElements>
    <a:clrScheme name="房利美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FFBF00"/>
      </a:accent1>
      <a:accent2>
        <a:srgbClr val="FAAF3F"/>
      </a:accent2>
      <a:accent3>
        <a:srgbClr val="000000"/>
      </a:accent3>
      <a:accent4>
        <a:srgbClr val="727272"/>
      </a:accent4>
      <a:accent5>
        <a:srgbClr val="595959"/>
      </a:accent5>
      <a:accent6>
        <a:srgbClr val="666666"/>
      </a:accent6>
      <a:hlink>
        <a:srgbClr val="4276AA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FFBF00"/>
    </a:accent1>
    <a:accent2>
      <a:srgbClr val="FAAF3F"/>
    </a:accent2>
    <a:accent3>
      <a:srgbClr val="000000"/>
    </a:accent3>
    <a:accent4>
      <a:srgbClr val="727272"/>
    </a:accent4>
    <a:accent5>
      <a:srgbClr val="595959"/>
    </a:accent5>
    <a:accent6>
      <a:srgbClr val="666666"/>
    </a:accent6>
    <a:hlink>
      <a:srgbClr val="4276AA"/>
    </a:hlink>
    <a:folHlink>
      <a:srgbClr val="BFBFBF"/>
    </a:folHlink>
  </a:clrScheme>
</a:themeOverride>
</file>

<file path=ppt/theme/themeOverride10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FFBF00"/>
    </a:accent1>
    <a:accent2>
      <a:srgbClr val="FAAF3F"/>
    </a:accent2>
    <a:accent3>
      <a:srgbClr val="000000"/>
    </a:accent3>
    <a:accent4>
      <a:srgbClr val="727272"/>
    </a:accent4>
    <a:accent5>
      <a:srgbClr val="595959"/>
    </a:accent5>
    <a:accent6>
      <a:srgbClr val="666666"/>
    </a:accent6>
    <a:hlink>
      <a:srgbClr val="4276AA"/>
    </a:hlink>
    <a:folHlink>
      <a:srgbClr val="BFBFBF"/>
    </a:folHlink>
  </a:clrScheme>
</a:themeOverride>
</file>

<file path=ppt/theme/themeOverride11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FFBF00"/>
    </a:accent1>
    <a:accent2>
      <a:srgbClr val="FAAF3F"/>
    </a:accent2>
    <a:accent3>
      <a:srgbClr val="000000"/>
    </a:accent3>
    <a:accent4>
      <a:srgbClr val="727272"/>
    </a:accent4>
    <a:accent5>
      <a:srgbClr val="595959"/>
    </a:accent5>
    <a:accent6>
      <a:srgbClr val="666666"/>
    </a:accent6>
    <a:hlink>
      <a:srgbClr val="4276AA"/>
    </a:hlink>
    <a:folHlink>
      <a:srgbClr val="BFBFBF"/>
    </a:folHlink>
  </a:clrScheme>
</a:themeOverride>
</file>

<file path=ppt/theme/themeOverride12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FFBF00"/>
    </a:accent1>
    <a:accent2>
      <a:srgbClr val="FAAF3F"/>
    </a:accent2>
    <a:accent3>
      <a:srgbClr val="000000"/>
    </a:accent3>
    <a:accent4>
      <a:srgbClr val="727272"/>
    </a:accent4>
    <a:accent5>
      <a:srgbClr val="595959"/>
    </a:accent5>
    <a:accent6>
      <a:srgbClr val="666666"/>
    </a:accent6>
    <a:hlink>
      <a:srgbClr val="4276AA"/>
    </a:hlink>
    <a:folHlink>
      <a:srgbClr val="BFBFBF"/>
    </a:folHlink>
  </a:clrScheme>
</a:themeOverride>
</file>

<file path=ppt/theme/themeOverride13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FFBF00"/>
    </a:accent1>
    <a:accent2>
      <a:srgbClr val="FAAF3F"/>
    </a:accent2>
    <a:accent3>
      <a:srgbClr val="000000"/>
    </a:accent3>
    <a:accent4>
      <a:srgbClr val="727272"/>
    </a:accent4>
    <a:accent5>
      <a:srgbClr val="595959"/>
    </a:accent5>
    <a:accent6>
      <a:srgbClr val="666666"/>
    </a:accent6>
    <a:hlink>
      <a:srgbClr val="4276AA"/>
    </a:hlink>
    <a:folHlink>
      <a:srgbClr val="BFBFBF"/>
    </a:folHlink>
  </a:clrScheme>
</a:themeOverride>
</file>

<file path=ppt/theme/themeOverride2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FFBF00"/>
    </a:accent1>
    <a:accent2>
      <a:srgbClr val="FAAF3F"/>
    </a:accent2>
    <a:accent3>
      <a:srgbClr val="000000"/>
    </a:accent3>
    <a:accent4>
      <a:srgbClr val="727272"/>
    </a:accent4>
    <a:accent5>
      <a:srgbClr val="595959"/>
    </a:accent5>
    <a:accent6>
      <a:srgbClr val="666666"/>
    </a:accent6>
    <a:hlink>
      <a:srgbClr val="4276AA"/>
    </a:hlink>
    <a:folHlink>
      <a:srgbClr val="BFBFBF"/>
    </a:folHlink>
  </a:clrScheme>
</a:themeOverride>
</file>

<file path=ppt/theme/themeOverride3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FFBF00"/>
    </a:accent1>
    <a:accent2>
      <a:srgbClr val="FAAF3F"/>
    </a:accent2>
    <a:accent3>
      <a:srgbClr val="000000"/>
    </a:accent3>
    <a:accent4>
      <a:srgbClr val="727272"/>
    </a:accent4>
    <a:accent5>
      <a:srgbClr val="595959"/>
    </a:accent5>
    <a:accent6>
      <a:srgbClr val="666666"/>
    </a:accent6>
    <a:hlink>
      <a:srgbClr val="4276AA"/>
    </a:hlink>
    <a:folHlink>
      <a:srgbClr val="BFBFBF"/>
    </a:folHlink>
  </a:clrScheme>
</a:themeOverride>
</file>

<file path=ppt/theme/themeOverride4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FFBF00"/>
    </a:accent1>
    <a:accent2>
      <a:srgbClr val="FAAF3F"/>
    </a:accent2>
    <a:accent3>
      <a:srgbClr val="000000"/>
    </a:accent3>
    <a:accent4>
      <a:srgbClr val="727272"/>
    </a:accent4>
    <a:accent5>
      <a:srgbClr val="595959"/>
    </a:accent5>
    <a:accent6>
      <a:srgbClr val="666666"/>
    </a:accent6>
    <a:hlink>
      <a:srgbClr val="4276AA"/>
    </a:hlink>
    <a:folHlink>
      <a:srgbClr val="BFBFBF"/>
    </a:folHlink>
  </a:clrScheme>
</a:themeOverride>
</file>

<file path=ppt/theme/themeOverride5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FFBF00"/>
    </a:accent1>
    <a:accent2>
      <a:srgbClr val="FAAF3F"/>
    </a:accent2>
    <a:accent3>
      <a:srgbClr val="000000"/>
    </a:accent3>
    <a:accent4>
      <a:srgbClr val="727272"/>
    </a:accent4>
    <a:accent5>
      <a:srgbClr val="595959"/>
    </a:accent5>
    <a:accent6>
      <a:srgbClr val="666666"/>
    </a:accent6>
    <a:hlink>
      <a:srgbClr val="4276AA"/>
    </a:hlink>
    <a:folHlink>
      <a:srgbClr val="BFBFBF"/>
    </a:folHlink>
  </a:clrScheme>
</a:themeOverride>
</file>

<file path=ppt/theme/themeOverride6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FFBF00"/>
    </a:accent1>
    <a:accent2>
      <a:srgbClr val="FAAF3F"/>
    </a:accent2>
    <a:accent3>
      <a:srgbClr val="000000"/>
    </a:accent3>
    <a:accent4>
      <a:srgbClr val="727272"/>
    </a:accent4>
    <a:accent5>
      <a:srgbClr val="595959"/>
    </a:accent5>
    <a:accent6>
      <a:srgbClr val="666666"/>
    </a:accent6>
    <a:hlink>
      <a:srgbClr val="4276AA"/>
    </a:hlink>
    <a:folHlink>
      <a:srgbClr val="BFBFBF"/>
    </a:folHlink>
  </a:clrScheme>
</a:themeOverride>
</file>

<file path=ppt/theme/themeOverride7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FFBF00"/>
    </a:accent1>
    <a:accent2>
      <a:srgbClr val="FAAF3F"/>
    </a:accent2>
    <a:accent3>
      <a:srgbClr val="000000"/>
    </a:accent3>
    <a:accent4>
      <a:srgbClr val="727272"/>
    </a:accent4>
    <a:accent5>
      <a:srgbClr val="595959"/>
    </a:accent5>
    <a:accent6>
      <a:srgbClr val="666666"/>
    </a:accent6>
    <a:hlink>
      <a:srgbClr val="4276AA"/>
    </a:hlink>
    <a:folHlink>
      <a:srgbClr val="BFBFBF"/>
    </a:folHlink>
  </a:clrScheme>
</a:themeOverride>
</file>

<file path=ppt/theme/themeOverride8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FFBF00"/>
    </a:accent1>
    <a:accent2>
      <a:srgbClr val="FAAF3F"/>
    </a:accent2>
    <a:accent3>
      <a:srgbClr val="000000"/>
    </a:accent3>
    <a:accent4>
      <a:srgbClr val="727272"/>
    </a:accent4>
    <a:accent5>
      <a:srgbClr val="595959"/>
    </a:accent5>
    <a:accent6>
      <a:srgbClr val="666666"/>
    </a:accent6>
    <a:hlink>
      <a:srgbClr val="4276AA"/>
    </a:hlink>
    <a:folHlink>
      <a:srgbClr val="BFBFBF"/>
    </a:folHlink>
  </a:clrScheme>
</a:themeOverride>
</file>

<file path=ppt/theme/themeOverride9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FFBF00"/>
    </a:accent1>
    <a:accent2>
      <a:srgbClr val="FAAF3F"/>
    </a:accent2>
    <a:accent3>
      <a:srgbClr val="000000"/>
    </a:accent3>
    <a:accent4>
      <a:srgbClr val="727272"/>
    </a:accent4>
    <a:accent5>
      <a:srgbClr val="595959"/>
    </a:accent5>
    <a:accent6>
      <a:srgbClr val="666666"/>
    </a:accent6>
    <a:hlink>
      <a:srgbClr val="4276AA"/>
    </a:hlink>
    <a:folHlink>
      <a:srgbClr val="BFBFB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iSlide</Template>
  <TotalTime>0</TotalTime>
  <Words>892</Words>
  <Application>WPS 演示</Application>
  <PresentationFormat>宽屏</PresentationFormat>
  <Paragraphs>181</Paragraphs>
  <Slides>27</Slides>
  <Notes>3</Notes>
  <HiddenSlides>3</HiddenSlides>
  <MMClips>0</MMClips>
  <ScaleCrop>false</ScaleCrop>
  <HeadingPairs>
    <vt:vector size="8" baseType="variant">
      <vt:variant>
        <vt:lpstr>已用的字体</vt:lpstr>
      </vt:variant>
      <vt:variant>
        <vt:i4>9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42</vt:i4>
      </vt:variant>
      <vt:variant>
        <vt:lpstr>幻灯片标题</vt:lpstr>
      </vt:variant>
      <vt:variant>
        <vt:i4>27</vt:i4>
      </vt:variant>
    </vt:vector>
  </HeadingPairs>
  <TitlesOfParts>
    <vt:vector size="79" baseType="lpstr">
      <vt:lpstr>Arial</vt:lpstr>
      <vt:lpstr>宋体</vt:lpstr>
      <vt:lpstr>Wingdings</vt:lpstr>
      <vt:lpstr>等线</vt:lpstr>
      <vt:lpstr>微软雅黑</vt:lpstr>
      <vt:lpstr>黑体</vt:lpstr>
      <vt:lpstr>Arial Unicode MS</vt:lpstr>
      <vt:lpstr>Calibri</vt:lpstr>
      <vt:lpstr>Times New Roman</vt:lpstr>
      <vt:lpstr>主题5</vt:lpstr>
      <vt:lpstr>TCLayout.ActiveDocument.1</vt:lpstr>
      <vt:lpstr>Equation.KSEE3</vt:lpstr>
      <vt:lpstr>Equation.KSEE3</vt:lpstr>
      <vt:lpstr>Equation.KSEE3</vt:lpstr>
      <vt:lpstr>Equation.KSEE3</vt:lpstr>
      <vt:lpstr>Equation.KSEE3</vt:lpstr>
      <vt:lpstr>Equation.KSEE3</vt:lpstr>
      <vt:lpstr>Equation.KSEE3</vt:lpstr>
      <vt:lpstr>Equation.KSEE3</vt:lpstr>
      <vt:lpstr>Equation.KSEE3</vt:lpstr>
      <vt:lpstr>Equation.KSEE3</vt:lpstr>
      <vt:lpstr>Equation.KSEE3</vt:lpstr>
      <vt:lpstr>Equation.KSEE3</vt:lpstr>
      <vt:lpstr>Equation.KSEE3</vt:lpstr>
      <vt:lpstr>Equation.KSEE3</vt:lpstr>
      <vt:lpstr>Equation.KSEE3</vt:lpstr>
      <vt:lpstr>Equation.KSEE3</vt:lpstr>
      <vt:lpstr>Equation.KSEE3</vt:lpstr>
      <vt:lpstr>Equation.KSEE3</vt:lpstr>
      <vt:lpstr>Equation.KSEE3</vt:lpstr>
      <vt:lpstr>Equation.KSEE3</vt:lpstr>
      <vt:lpstr>Equation.KSEE3</vt:lpstr>
      <vt:lpstr>Equation.KSEE3</vt:lpstr>
      <vt:lpstr>Equation.KSEE3</vt:lpstr>
      <vt:lpstr>Equation.KSEE3</vt:lpstr>
      <vt:lpstr>Equation.KSEE3</vt:lpstr>
      <vt:lpstr>Equation.KSEE3</vt:lpstr>
      <vt:lpstr>Equation.KSEE3</vt:lpstr>
      <vt:lpstr>Equation.KSEE3</vt:lpstr>
      <vt:lpstr>Equation.KSEE3</vt:lpstr>
      <vt:lpstr>Equation.KSEE3</vt:lpstr>
      <vt:lpstr>Equation.KSEE3</vt:lpstr>
      <vt:lpstr>Equation.KSEE3</vt:lpstr>
      <vt:lpstr>Equation.KSEE3</vt:lpstr>
      <vt:lpstr>Equation.KSEE3</vt:lpstr>
      <vt:lpstr>Equation.KSEE3</vt:lpstr>
      <vt:lpstr>TCLayout.ActiveDocument.1</vt:lpstr>
      <vt:lpstr>Equation.KSEE3</vt:lpstr>
      <vt:lpstr>Equation.KSEE3</vt:lpstr>
      <vt:lpstr>Equation.KSEE3</vt:lpstr>
      <vt:lpstr>Equation.KSEE3</vt:lpstr>
      <vt:lpstr>Equation.KSEE3</vt:lpstr>
      <vt:lpstr>高三数学专题复习课</vt:lpstr>
      <vt:lpstr>知识梳理</vt:lpstr>
      <vt:lpstr>PowerPoint 演示文稿</vt:lpstr>
      <vt:lpstr>PowerPoint 演示文稿</vt:lpstr>
      <vt:lpstr>PowerPoint 演示文稿</vt:lpstr>
      <vt:lpstr>典例精析</vt:lpstr>
      <vt:lpstr>典型例题1</vt:lpstr>
      <vt:lpstr>典型例题1</vt:lpstr>
      <vt:lpstr>典型例题1</vt:lpstr>
      <vt:lpstr>练习1</vt:lpstr>
      <vt:lpstr>PowerPoint 演示文稿</vt:lpstr>
      <vt:lpstr>典型例题2·2018全国卷Ⅰ</vt:lpstr>
      <vt:lpstr>典型例题2·2018全国卷Ⅰ</vt:lpstr>
      <vt:lpstr>典型例题2·2018全国卷Ⅰ</vt:lpstr>
      <vt:lpstr>典型例题2·2018全国卷Ⅰ</vt:lpstr>
      <vt:lpstr>PowerPoint 演示文稿</vt:lpstr>
      <vt:lpstr>典型例题3·2018天津卷</vt:lpstr>
      <vt:lpstr>典型例题3·2018天津卷</vt:lpstr>
      <vt:lpstr>典型例题3·2018天津卷</vt:lpstr>
      <vt:lpstr>典型例题3·2018天津卷</vt:lpstr>
      <vt:lpstr>典型例题3·2018天津卷</vt:lpstr>
      <vt:lpstr>PowerPoint 演示文稿</vt:lpstr>
      <vt:lpstr>典型例题4</vt:lpstr>
      <vt:lpstr>PowerPoint 演示文稿</vt:lpstr>
      <vt:lpstr>小结</vt:lpstr>
      <vt:lpstr>PowerPoint 演示文稿</vt:lpstr>
      <vt:lpstr>谢谢！ 再见！</vt:lpstr>
    </vt:vector>
  </TitlesOfParts>
  <Company>iSlide</Company>
  <LinksUpToDate>false</LinksUpToDate>
  <SharedDoc>false</SharedDoc>
  <HyperlinksChanged>false</HyperlinksChanged>
  <AppVersion>14.0000</AppVersion>
  <Manager>iSlide</Manager>
  <HyperlinkBase>https://www.islide.cc</HyperlinkBase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iSlide</dc:creator>
  <cp:lastModifiedBy>拾肆先生</cp:lastModifiedBy>
  <cp:revision>21</cp:revision>
  <cp:lastPrinted>2018-06-07T16:00:00Z</cp:lastPrinted>
  <dcterms:created xsi:type="dcterms:W3CDTF">2018-06-07T16:00:00Z</dcterms:created>
  <dcterms:modified xsi:type="dcterms:W3CDTF">2020-02-16T01:08:0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  <property fmtid="{D5CDD505-2E9C-101B-9397-08002B2CF9AE}" pid="3" name="KSOProductBuildVer">
    <vt:lpwstr>2052-11.1.0.9339</vt:lpwstr>
  </property>
</Properties>
</file>